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9" r:id="rId1"/>
  </p:sldMasterIdLst>
  <p:notesMasterIdLst>
    <p:notesMasterId r:id="rId12"/>
  </p:notesMasterIdLst>
  <p:handoutMasterIdLst>
    <p:handoutMasterId r:id="rId13"/>
  </p:handoutMasterIdLst>
  <p:sldIdLst>
    <p:sldId id="435" r:id="rId2"/>
    <p:sldId id="496" r:id="rId3"/>
    <p:sldId id="497" r:id="rId4"/>
    <p:sldId id="498" r:id="rId5"/>
    <p:sldId id="499" r:id="rId6"/>
    <p:sldId id="500" r:id="rId7"/>
    <p:sldId id="501" r:id="rId8"/>
    <p:sldId id="502" r:id="rId9"/>
    <p:sldId id="503" r:id="rId10"/>
    <p:sldId id="504" r:id="rId11"/>
  </p:sldIdLst>
  <p:sldSz cx="9144000" cy="6858000" type="screen4x3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0">
          <p15:clr>
            <a:srgbClr val="A4A3A4"/>
          </p15:clr>
        </p15:guide>
        <p15:guide id="2" orient="horz" pos="661">
          <p15:clr>
            <a:srgbClr val="A4A3A4"/>
          </p15:clr>
        </p15:guide>
        <p15:guide id="3" orient="horz">
          <p15:clr>
            <a:srgbClr val="A4A3A4"/>
          </p15:clr>
        </p15:guide>
        <p15:guide id="5" orient="horz" pos="3576" userDrawn="1">
          <p15:clr>
            <a:srgbClr val="A4A3A4"/>
          </p15:clr>
        </p15:guide>
        <p15:guide id="6" orient="horz" pos="894">
          <p15:clr>
            <a:srgbClr val="A4A3A4"/>
          </p15:clr>
        </p15:guide>
        <p15:guide id="7" pos="240" userDrawn="1">
          <p15:clr>
            <a:srgbClr val="A4A3A4"/>
          </p15:clr>
        </p15:guide>
        <p15:guide id="8" pos="5530">
          <p15:clr>
            <a:srgbClr val="A4A3A4"/>
          </p15:clr>
        </p15:guide>
        <p15:guide id="9" orient="horz" pos="662">
          <p15:clr>
            <a:srgbClr val="A4A3A4"/>
          </p15:clr>
        </p15:guide>
        <p15:guide id="10" orient="horz" pos="4176" userDrawn="1">
          <p15:clr>
            <a:srgbClr val="A4A3A4"/>
          </p15:clr>
        </p15:guide>
        <p15:guide id="11" pos="23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dmin" initials="a" lastIdx="10" clrIdx="0"/>
  <p:cmAuthor id="1" name="Norton " initials="N" lastIdx="0" clrIdx="1"/>
  <p:cmAuthor id="2" name="Suresh" initials="S" lastIdx="4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E2E2E2"/>
    <a:srgbClr val="E0E0E0"/>
    <a:srgbClr val="2E7D92"/>
    <a:srgbClr val="2C1C12"/>
    <a:srgbClr val="2F160F"/>
    <a:srgbClr val="6A4C34"/>
    <a:srgbClr val="60260C"/>
    <a:srgbClr val="9C704C"/>
    <a:srgbClr val="F5D6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40" autoAdjust="0"/>
    <p:restoredTop sz="96109" autoAdjust="0"/>
  </p:normalViewPr>
  <p:slideViewPr>
    <p:cSldViewPr snapToGrid="0">
      <p:cViewPr varScale="1">
        <p:scale>
          <a:sx n="175" d="100"/>
          <a:sy n="175" d="100"/>
        </p:scale>
        <p:origin x="1536" y="176"/>
      </p:cViewPr>
      <p:guideLst>
        <p:guide orient="horz" pos="160"/>
        <p:guide orient="horz" pos="661"/>
        <p:guide orient="horz"/>
        <p:guide orient="horz" pos="3576"/>
        <p:guide orient="horz" pos="894"/>
        <p:guide pos="240"/>
        <p:guide pos="5530"/>
        <p:guide orient="horz" pos="662"/>
        <p:guide orient="horz" pos="4176"/>
        <p:guide pos="2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-3804" y="-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notesMaster" Target="notesMasters/notesMaster1.xml"/><Relationship Id="rId13" Type="http://schemas.openxmlformats.org/officeDocument/2006/relationships/handoutMaster" Target="handoutMasters/handoutMaster1.xml"/><Relationship Id="rId14" Type="http://schemas.openxmlformats.org/officeDocument/2006/relationships/tags" Target="tags/tag1.xml"/><Relationship Id="rId15" Type="http://schemas.openxmlformats.org/officeDocument/2006/relationships/commentAuthors" Target="commentAuthors.xml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2E9335-1437-4608-A461-AD317A615E6C}" type="datetimeFigureOut">
              <a:rPr lang="en-US" smtClean="0">
                <a:latin typeface="Arial" pitchFamily="34" charset="0"/>
              </a:rPr>
              <a:pPr/>
              <a:t>8/26/15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E3171A-502A-4D0E-A14D-6BD9947571BC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1883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BECD8E14-89F3-4DC3-98A7-D9CE44AFD292}" type="datetimeFigureOut">
              <a:rPr lang="en-US" smtClean="0"/>
              <a:pPr/>
              <a:t>8/26/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B54F7A59-3251-40FF-B9E9-BB882E00389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674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4F7A59-3251-40FF-B9E9-BB882E00389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0590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aseline="0" dirty="0" smtClea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4F7A59-3251-40FF-B9E9-BB882E003890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2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96750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1" y="0"/>
            <a:ext cx="9144001" cy="6858000"/>
            <a:chOff x="-1" y="0"/>
            <a:chExt cx="9144001" cy="6858000"/>
          </a:xfrm>
        </p:grpSpPr>
        <p:sp>
          <p:nvSpPr>
            <p:cNvPr id="10" name="Rectangle 9"/>
            <p:cNvSpPr/>
            <p:nvPr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10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502" t="47104" r="23512" b="13131"/>
            <a:stretch/>
          </p:blipFill>
          <p:spPr bwMode="auto">
            <a:xfrm>
              <a:off x="-1" y="0"/>
              <a:ext cx="9144001" cy="6858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5057837"/>
            <a:ext cx="8413750" cy="830997"/>
          </a:xfr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5200" baseline="0"/>
            </a:lvl1pPr>
          </a:lstStyle>
          <a:p>
            <a:r>
              <a:rPr lang="en-US" dirty="0" smtClean="0"/>
              <a:t>Place holder for title Bold 52pt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78770" y="-613954"/>
            <a:ext cx="5986460" cy="5473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421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Title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1" y="0"/>
            <a:ext cx="9144001" cy="6858000"/>
            <a:chOff x="-1" y="0"/>
            <a:chExt cx="9144001" cy="6858000"/>
          </a:xfrm>
        </p:grpSpPr>
        <p:sp>
          <p:nvSpPr>
            <p:cNvPr id="10" name="Rectangle 9"/>
            <p:cNvSpPr/>
            <p:nvPr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10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502" t="47104" r="23512" b="13131"/>
            <a:stretch/>
          </p:blipFill>
          <p:spPr bwMode="auto">
            <a:xfrm>
              <a:off x="-1" y="0"/>
              <a:ext cx="9144001" cy="6858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81500" y="2628781"/>
            <a:ext cx="4397375" cy="1600438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5200" baseline="0"/>
            </a:lvl1pPr>
          </a:lstStyle>
          <a:p>
            <a:r>
              <a:rPr lang="en-US" dirty="0" smtClean="0"/>
              <a:t>Place holder for title Bold 52p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25732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Title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1" y="0"/>
            <a:ext cx="9144001" cy="6858000"/>
            <a:chOff x="-1" y="0"/>
            <a:chExt cx="9144001" cy="6858000"/>
          </a:xfrm>
        </p:grpSpPr>
        <p:sp>
          <p:nvSpPr>
            <p:cNvPr id="10" name="Rectangle 9"/>
            <p:cNvSpPr/>
            <p:nvPr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10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502" t="47104" r="23512" b="13131"/>
            <a:stretch/>
          </p:blipFill>
          <p:spPr bwMode="auto">
            <a:xfrm>
              <a:off x="-1" y="0"/>
              <a:ext cx="9144001" cy="6858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3013502"/>
            <a:ext cx="8413750" cy="830997"/>
          </a:xfrm>
        </p:spPr>
        <p:txBody>
          <a:bodyPr anchor="b">
            <a:noAutofit/>
          </a:bodyPr>
          <a:lstStyle>
            <a:lvl1pPr algn="ctr">
              <a:lnSpc>
                <a:spcPct val="100000"/>
              </a:lnSpc>
              <a:defRPr sz="5200" baseline="0"/>
            </a:lvl1pPr>
          </a:lstStyle>
          <a:p>
            <a:r>
              <a:rPr lang="en-US" dirty="0" smtClean="0"/>
              <a:t>Place holder for title Bold 52pt</a:t>
            </a:r>
            <a:endParaRPr lang="en-IN" dirty="0"/>
          </a:p>
        </p:txBody>
      </p:sp>
      <p:sp>
        <p:nvSpPr>
          <p:cNvPr id="40" name="Title 1"/>
          <p:cNvSpPr txBox="1">
            <a:spLocks/>
          </p:cNvSpPr>
          <p:nvPr userDrawn="1"/>
        </p:nvSpPr>
        <p:spPr>
          <a:xfrm>
            <a:off x="365125" y="3844500"/>
            <a:ext cx="8413750" cy="641776"/>
          </a:xfrm>
          <a:prstGeom prst="rect">
            <a:avLst/>
          </a:prstGeom>
        </p:spPr>
        <p:txBody>
          <a:bodyPr vert="horz" lIns="0" tIns="0" rIns="0" bIns="0" anchor="t">
            <a:noAutofit/>
          </a:bodyPr>
          <a:lstStyle>
            <a:lvl1pPr algn="ctr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kumimoji="0" sz="5200" b="1" kern="120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3600"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ubtitle</a:t>
            </a:r>
            <a:r>
              <a:rPr lang="en-US" sz="3600" b="0" baseline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if any regular 36pt </a:t>
            </a:r>
            <a:endParaRPr lang="en-IN" sz="3600" b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292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st of th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1"/>
          <p:cNvSpPr>
            <a:spLocks noGrp="1"/>
          </p:cNvSpPr>
          <p:nvPr>
            <p:ph type="title"/>
          </p:nvPr>
        </p:nvSpPr>
        <p:spPr>
          <a:xfrm>
            <a:off x="365125" y="254000"/>
            <a:ext cx="8413750" cy="443198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 algn="l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200" b="1" kern="120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125" y="1052513"/>
            <a:ext cx="8413750" cy="5580062"/>
          </a:xfrm>
        </p:spPr>
        <p:txBody>
          <a:bodyPr/>
          <a:lstStyle>
            <a:lvl1pPr marL="320040" indent="-320040">
              <a:buClr>
                <a:schemeClr val="tx2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defRPr/>
            </a:lvl1pPr>
            <a:lvl2pPr marL="640080" indent="-274320">
              <a:buClr>
                <a:schemeClr val="tx1">
                  <a:lumMod val="50000"/>
                  <a:lumOff val="50000"/>
                </a:schemeClr>
              </a:buClr>
              <a:buSzPct val="109000"/>
              <a:buFont typeface="Arial" pitchFamily="34" charset="0"/>
              <a:buChar char="•"/>
              <a:defRPr/>
            </a:lvl2pPr>
            <a:lvl3pPr marL="914400" indent="-228600">
              <a:buClr>
                <a:schemeClr val="accent2">
                  <a:lumMod val="75000"/>
                </a:schemeClr>
              </a:buClr>
              <a:buFont typeface="Courier New" pitchFamily="49" charset="0"/>
              <a:buChar char="o"/>
              <a:defRPr/>
            </a:lvl3pPr>
            <a:lvl4pPr>
              <a:buSzPct val="70000"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2636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st of th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1"/>
          <p:cNvSpPr>
            <a:spLocks noGrp="1"/>
          </p:cNvSpPr>
          <p:nvPr>
            <p:ph type="title"/>
          </p:nvPr>
        </p:nvSpPr>
        <p:spPr>
          <a:xfrm>
            <a:off x="365125" y="254000"/>
            <a:ext cx="8413750" cy="443198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 algn="l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200" b="1" kern="120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754076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 and LA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1"/>
          <p:cNvSpPr>
            <a:spLocks noGrp="1"/>
          </p:cNvSpPr>
          <p:nvPr>
            <p:ph type="title"/>
          </p:nvPr>
        </p:nvSpPr>
        <p:spPr>
          <a:xfrm>
            <a:off x="365125" y="254000"/>
            <a:ext cx="8413750" cy="443198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lang="en-US" dirty="0">
                <a:solidFill>
                  <a:schemeClr val="bg2"/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3374695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365125" y="254000"/>
            <a:ext cx="8413750" cy="443198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/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365126" y="1233487"/>
            <a:ext cx="8413750" cy="5229226"/>
          </a:xfrm>
          <a:prstGeom prst="rect">
            <a:avLst/>
          </a:prstGeom>
        </p:spPr>
        <p:txBody>
          <a:bodyPr vert="horz">
            <a:noAutofit/>
          </a:bodyPr>
          <a:lstStyle/>
          <a:p>
            <a:pPr lvl="0" eaLnBrk="1" latinLnBrk="0" hangingPunct="1"/>
            <a:r>
              <a:rPr kumimoji="0" lang="en-US" dirty="0" smtClean="0"/>
              <a:t>Click to edit Master text styles</a:t>
            </a:r>
          </a:p>
          <a:p>
            <a:pPr lvl="1" eaLnBrk="1" latinLnBrk="0" hangingPunct="1"/>
            <a:r>
              <a:rPr kumimoji="0" lang="en-US" dirty="0" smtClean="0"/>
              <a:t>Second level</a:t>
            </a:r>
          </a:p>
          <a:p>
            <a:pPr lvl="2" eaLnBrk="1" latinLnBrk="0" hangingPunct="1"/>
            <a:r>
              <a:rPr kumimoji="0" lang="en-US" dirty="0" smtClean="0"/>
              <a:t>Third level</a:t>
            </a:r>
          </a:p>
          <a:p>
            <a:pPr lvl="3" eaLnBrk="1" latinLnBrk="0" hangingPunct="1"/>
            <a:r>
              <a:rPr kumimoji="0" lang="en-US" dirty="0" smtClean="0"/>
              <a:t>Fourth level</a:t>
            </a:r>
          </a:p>
          <a:p>
            <a:pPr lvl="4" eaLnBrk="1" latinLnBrk="0" hangingPunct="1"/>
            <a:r>
              <a:rPr kumimoji="0" lang="en-US" dirty="0" smtClean="0"/>
              <a:t>Fifth level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620954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53" r:id="rId4"/>
    <p:sldLayoutId id="2147483754" r:id="rId5"/>
    <p:sldLayoutId id="2147483756" r:id="rId6"/>
  </p:sldLayoutIdLs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lnSpc>
          <a:spcPct val="90000"/>
        </a:lnSpc>
        <a:spcBef>
          <a:spcPct val="0"/>
        </a:spcBef>
        <a:buNone/>
        <a:defRPr kumimoji="0" sz="3200" b="1" kern="1200">
          <a:ln>
            <a:noFill/>
          </a:ln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Arial" pitchFamily="34" charset="0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800" kern="1200">
          <a:ln>
            <a:noFill/>
          </a:ln>
          <a:solidFill>
            <a:schemeClr val="tx1"/>
          </a:solidFill>
          <a:latin typeface="+mj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400" kern="1200">
          <a:ln>
            <a:noFill/>
          </a:ln>
          <a:solidFill>
            <a:schemeClr val="tx1"/>
          </a:solidFill>
          <a:latin typeface="+mj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000" kern="1200">
          <a:ln>
            <a:noFill/>
          </a:ln>
          <a:solidFill>
            <a:schemeClr val="tx1"/>
          </a:solidFill>
          <a:latin typeface="+mj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1800" kern="1200">
          <a:ln>
            <a:noFill/>
          </a:ln>
          <a:solidFill>
            <a:schemeClr val="tx1"/>
          </a:solidFill>
          <a:latin typeface="+mj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1800" kern="1200">
          <a:ln>
            <a:noFill/>
          </a:ln>
          <a:solidFill>
            <a:schemeClr val="tx1"/>
          </a:solidFill>
          <a:latin typeface="+mj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46" Type="http://schemas.openxmlformats.org/officeDocument/2006/relationships/image" Target="../media/image15.png"/><Relationship Id="rId47" Type="http://schemas.openxmlformats.org/officeDocument/2006/relationships/image" Target="../media/image16.png"/><Relationship Id="rId48" Type="http://schemas.openxmlformats.org/officeDocument/2006/relationships/hyperlink" Target="http://www.24point0.com/ppt-shop/tips-and-tutorials/" TargetMode="External"/><Relationship Id="rId20" Type="http://schemas.openxmlformats.org/officeDocument/2006/relationships/tags" Target="../tags/tag20.xml"/><Relationship Id="rId21" Type="http://schemas.openxmlformats.org/officeDocument/2006/relationships/tags" Target="../tags/tag21.xml"/><Relationship Id="rId22" Type="http://schemas.openxmlformats.org/officeDocument/2006/relationships/tags" Target="../tags/tag22.xml"/><Relationship Id="rId23" Type="http://schemas.openxmlformats.org/officeDocument/2006/relationships/tags" Target="../tags/tag23.xml"/><Relationship Id="rId24" Type="http://schemas.openxmlformats.org/officeDocument/2006/relationships/tags" Target="../tags/tag24.xml"/><Relationship Id="rId25" Type="http://schemas.openxmlformats.org/officeDocument/2006/relationships/tags" Target="../tags/tag25.xml"/><Relationship Id="rId26" Type="http://schemas.openxmlformats.org/officeDocument/2006/relationships/tags" Target="../tags/tag26.xml"/><Relationship Id="rId27" Type="http://schemas.openxmlformats.org/officeDocument/2006/relationships/tags" Target="../tags/tag27.xml"/><Relationship Id="rId28" Type="http://schemas.openxmlformats.org/officeDocument/2006/relationships/tags" Target="../tags/tag28.xml"/><Relationship Id="rId29" Type="http://schemas.openxmlformats.org/officeDocument/2006/relationships/tags" Target="../tags/tag29.xml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30" Type="http://schemas.openxmlformats.org/officeDocument/2006/relationships/tags" Target="../tags/tag30.xml"/><Relationship Id="rId31" Type="http://schemas.openxmlformats.org/officeDocument/2006/relationships/tags" Target="../tags/tag31.xml"/><Relationship Id="rId32" Type="http://schemas.openxmlformats.org/officeDocument/2006/relationships/tags" Target="../tags/tag32.xml"/><Relationship Id="rId9" Type="http://schemas.openxmlformats.org/officeDocument/2006/relationships/tags" Target="../tags/tag9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33" Type="http://schemas.openxmlformats.org/officeDocument/2006/relationships/slideLayout" Target="../slideLayouts/slideLayout6.xml"/><Relationship Id="rId34" Type="http://schemas.openxmlformats.org/officeDocument/2006/relationships/notesSlide" Target="../notesSlides/notesSlide2.xml"/><Relationship Id="rId35" Type="http://schemas.openxmlformats.org/officeDocument/2006/relationships/image" Target="../media/image6.png"/><Relationship Id="rId36" Type="http://schemas.openxmlformats.org/officeDocument/2006/relationships/oleObject" Target="../embeddings/oleObject1.bin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tags" Target="../tags/tag19.xml"/><Relationship Id="rId37" Type="http://schemas.openxmlformats.org/officeDocument/2006/relationships/image" Target="../media/image5.emf"/><Relationship Id="rId38" Type="http://schemas.openxmlformats.org/officeDocument/2006/relationships/image" Target="../media/image7.png"/><Relationship Id="rId39" Type="http://schemas.openxmlformats.org/officeDocument/2006/relationships/image" Target="../media/image8.png"/><Relationship Id="rId40" Type="http://schemas.openxmlformats.org/officeDocument/2006/relationships/image" Target="../media/image9.png"/><Relationship Id="rId41" Type="http://schemas.openxmlformats.org/officeDocument/2006/relationships/image" Target="../media/image10.png"/><Relationship Id="rId42" Type="http://schemas.openxmlformats.org/officeDocument/2006/relationships/image" Target="../media/image11.png"/><Relationship Id="rId43" Type="http://schemas.openxmlformats.org/officeDocument/2006/relationships/image" Target="../media/image12.png"/><Relationship Id="rId44" Type="http://schemas.openxmlformats.org/officeDocument/2006/relationships/image" Target="../media/image13.png"/><Relationship Id="rId45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3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CI Matrix</a:t>
            </a:r>
          </a:p>
        </p:txBody>
      </p:sp>
    </p:spTree>
    <p:extLst>
      <p:ext uri="{BB962C8B-B14F-4D97-AF65-F5344CB8AC3E}">
        <p14:creationId xmlns:p14="http://schemas.microsoft.com/office/powerpoint/2010/main" val="3915874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CI – Who’s Who</a:t>
            </a:r>
            <a:endParaRPr lang="en-US" dirty="0"/>
          </a:p>
        </p:txBody>
      </p:sp>
      <p:grpSp>
        <p:nvGrpSpPr>
          <p:cNvPr id="14" name="Group 13"/>
          <p:cNvGrpSpPr>
            <a:grpSpLocks noChangeAspect="1"/>
          </p:cNvGrpSpPr>
          <p:nvPr/>
        </p:nvGrpSpPr>
        <p:grpSpPr>
          <a:xfrm>
            <a:off x="753046" y="2176847"/>
            <a:ext cx="1085392" cy="2193280"/>
            <a:chOff x="7835900" y="770594"/>
            <a:chExt cx="2451100" cy="4953000"/>
          </a:xfrm>
        </p:grpSpPr>
        <p:sp>
          <p:nvSpPr>
            <p:cNvPr id="15" name="Freeform 14"/>
            <p:cNvSpPr/>
            <p:nvPr/>
          </p:nvSpPr>
          <p:spPr>
            <a:xfrm>
              <a:off x="7835900" y="770594"/>
              <a:ext cx="2451100" cy="4953000"/>
            </a:xfrm>
            <a:custGeom>
              <a:avLst/>
              <a:gdLst>
                <a:gd name="connsiteX0" fmla="*/ 1270000 w 2451100"/>
                <a:gd name="connsiteY0" fmla="*/ 0 h 4953000"/>
                <a:gd name="connsiteX1" fmla="*/ 1130300 w 2451100"/>
                <a:gd name="connsiteY1" fmla="*/ 114300 h 4953000"/>
                <a:gd name="connsiteX2" fmla="*/ 1028700 w 2451100"/>
                <a:gd name="connsiteY2" fmla="*/ 228600 h 4953000"/>
                <a:gd name="connsiteX3" fmla="*/ 1028700 w 2451100"/>
                <a:gd name="connsiteY3" fmla="*/ 355600 h 4953000"/>
                <a:gd name="connsiteX4" fmla="*/ 1028700 w 2451100"/>
                <a:gd name="connsiteY4" fmla="*/ 546100 h 4953000"/>
                <a:gd name="connsiteX5" fmla="*/ 1079500 w 2451100"/>
                <a:gd name="connsiteY5" fmla="*/ 596900 h 4953000"/>
                <a:gd name="connsiteX6" fmla="*/ 1168400 w 2451100"/>
                <a:gd name="connsiteY6" fmla="*/ 914400 h 4953000"/>
                <a:gd name="connsiteX7" fmla="*/ 1003300 w 2451100"/>
                <a:gd name="connsiteY7" fmla="*/ 914400 h 4953000"/>
                <a:gd name="connsiteX8" fmla="*/ 927100 w 2451100"/>
                <a:gd name="connsiteY8" fmla="*/ 1016000 h 4953000"/>
                <a:gd name="connsiteX9" fmla="*/ 876300 w 2451100"/>
                <a:gd name="connsiteY9" fmla="*/ 1270000 h 4953000"/>
                <a:gd name="connsiteX10" fmla="*/ 876300 w 2451100"/>
                <a:gd name="connsiteY10" fmla="*/ 1409700 h 4953000"/>
                <a:gd name="connsiteX11" fmla="*/ 889000 w 2451100"/>
                <a:gd name="connsiteY11" fmla="*/ 1473200 h 4953000"/>
                <a:gd name="connsiteX12" fmla="*/ 850900 w 2451100"/>
                <a:gd name="connsiteY12" fmla="*/ 1536700 h 4953000"/>
                <a:gd name="connsiteX13" fmla="*/ 850900 w 2451100"/>
                <a:gd name="connsiteY13" fmla="*/ 1612900 h 4953000"/>
                <a:gd name="connsiteX14" fmla="*/ 812800 w 2451100"/>
                <a:gd name="connsiteY14" fmla="*/ 1676400 h 4953000"/>
                <a:gd name="connsiteX15" fmla="*/ 266700 w 2451100"/>
                <a:gd name="connsiteY15" fmla="*/ 1460500 h 4953000"/>
                <a:gd name="connsiteX16" fmla="*/ 241300 w 2451100"/>
                <a:gd name="connsiteY16" fmla="*/ 1460500 h 4953000"/>
                <a:gd name="connsiteX17" fmla="*/ 0 w 2451100"/>
                <a:gd name="connsiteY17" fmla="*/ 2044700 h 4953000"/>
                <a:gd name="connsiteX18" fmla="*/ 254000 w 2451100"/>
                <a:gd name="connsiteY18" fmla="*/ 2133600 h 4953000"/>
                <a:gd name="connsiteX19" fmla="*/ 254000 w 2451100"/>
                <a:gd name="connsiteY19" fmla="*/ 2197100 h 4953000"/>
                <a:gd name="connsiteX20" fmla="*/ 355600 w 2451100"/>
                <a:gd name="connsiteY20" fmla="*/ 2197100 h 4953000"/>
                <a:gd name="connsiteX21" fmla="*/ 381000 w 2451100"/>
                <a:gd name="connsiteY21" fmla="*/ 2298700 h 4953000"/>
                <a:gd name="connsiteX22" fmla="*/ 584200 w 2451100"/>
                <a:gd name="connsiteY22" fmla="*/ 2362200 h 4953000"/>
                <a:gd name="connsiteX23" fmla="*/ 685800 w 2451100"/>
                <a:gd name="connsiteY23" fmla="*/ 2349500 h 4953000"/>
                <a:gd name="connsiteX24" fmla="*/ 952500 w 2451100"/>
                <a:gd name="connsiteY24" fmla="*/ 2451100 h 4953000"/>
                <a:gd name="connsiteX25" fmla="*/ 850900 w 2451100"/>
                <a:gd name="connsiteY25" fmla="*/ 2832100 h 4953000"/>
                <a:gd name="connsiteX26" fmla="*/ 914400 w 2451100"/>
                <a:gd name="connsiteY26" fmla="*/ 2984500 h 4953000"/>
                <a:gd name="connsiteX27" fmla="*/ 1016000 w 2451100"/>
                <a:gd name="connsiteY27" fmla="*/ 3848100 h 4953000"/>
                <a:gd name="connsiteX28" fmla="*/ 1092200 w 2451100"/>
                <a:gd name="connsiteY28" fmla="*/ 4127500 h 4953000"/>
                <a:gd name="connsiteX29" fmla="*/ 1003300 w 2451100"/>
                <a:gd name="connsiteY29" fmla="*/ 4216400 h 4953000"/>
                <a:gd name="connsiteX30" fmla="*/ 787400 w 2451100"/>
                <a:gd name="connsiteY30" fmla="*/ 4318000 h 4953000"/>
                <a:gd name="connsiteX31" fmla="*/ 787400 w 2451100"/>
                <a:gd name="connsiteY31" fmla="*/ 4419600 h 4953000"/>
                <a:gd name="connsiteX32" fmla="*/ 876300 w 2451100"/>
                <a:gd name="connsiteY32" fmla="*/ 4483100 h 4953000"/>
                <a:gd name="connsiteX33" fmla="*/ 1054100 w 2451100"/>
                <a:gd name="connsiteY33" fmla="*/ 4495800 h 4953000"/>
                <a:gd name="connsiteX34" fmla="*/ 1244600 w 2451100"/>
                <a:gd name="connsiteY34" fmla="*/ 4368800 h 4953000"/>
                <a:gd name="connsiteX35" fmla="*/ 1498600 w 2451100"/>
                <a:gd name="connsiteY35" fmla="*/ 4381500 h 4953000"/>
                <a:gd name="connsiteX36" fmla="*/ 1498600 w 2451100"/>
                <a:gd name="connsiteY36" fmla="*/ 4483100 h 4953000"/>
                <a:gd name="connsiteX37" fmla="*/ 1308100 w 2451100"/>
                <a:gd name="connsiteY37" fmla="*/ 4787900 h 4953000"/>
                <a:gd name="connsiteX38" fmla="*/ 1358900 w 2451100"/>
                <a:gd name="connsiteY38" fmla="*/ 4940300 h 4953000"/>
                <a:gd name="connsiteX39" fmla="*/ 1422400 w 2451100"/>
                <a:gd name="connsiteY39" fmla="*/ 4953000 h 4953000"/>
                <a:gd name="connsiteX40" fmla="*/ 1638300 w 2451100"/>
                <a:gd name="connsiteY40" fmla="*/ 4838700 h 4953000"/>
                <a:gd name="connsiteX41" fmla="*/ 1689100 w 2451100"/>
                <a:gd name="connsiteY41" fmla="*/ 4724400 h 4953000"/>
                <a:gd name="connsiteX42" fmla="*/ 1828800 w 2451100"/>
                <a:gd name="connsiteY42" fmla="*/ 4368800 h 4953000"/>
                <a:gd name="connsiteX43" fmla="*/ 2070100 w 2451100"/>
                <a:gd name="connsiteY43" fmla="*/ 4330700 h 4953000"/>
                <a:gd name="connsiteX44" fmla="*/ 2146300 w 2451100"/>
                <a:gd name="connsiteY44" fmla="*/ 4381500 h 4953000"/>
                <a:gd name="connsiteX45" fmla="*/ 2209800 w 2451100"/>
                <a:gd name="connsiteY45" fmla="*/ 4305300 h 4953000"/>
                <a:gd name="connsiteX46" fmla="*/ 2324100 w 2451100"/>
                <a:gd name="connsiteY46" fmla="*/ 4292600 h 4953000"/>
                <a:gd name="connsiteX47" fmla="*/ 2438400 w 2451100"/>
                <a:gd name="connsiteY47" fmla="*/ 4203700 h 4953000"/>
                <a:gd name="connsiteX48" fmla="*/ 2451100 w 2451100"/>
                <a:gd name="connsiteY48" fmla="*/ 3619500 h 4953000"/>
                <a:gd name="connsiteX49" fmla="*/ 2425700 w 2451100"/>
                <a:gd name="connsiteY49" fmla="*/ 3530600 h 4953000"/>
                <a:gd name="connsiteX50" fmla="*/ 2108200 w 2451100"/>
                <a:gd name="connsiteY50" fmla="*/ 3492500 h 4953000"/>
                <a:gd name="connsiteX51" fmla="*/ 1955800 w 2451100"/>
                <a:gd name="connsiteY51" fmla="*/ 3390900 h 4953000"/>
                <a:gd name="connsiteX52" fmla="*/ 1981200 w 2451100"/>
                <a:gd name="connsiteY52" fmla="*/ 3302000 h 4953000"/>
                <a:gd name="connsiteX53" fmla="*/ 2032000 w 2451100"/>
                <a:gd name="connsiteY53" fmla="*/ 3263900 h 4953000"/>
                <a:gd name="connsiteX54" fmla="*/ 2146300 w 2451100"/>
                <a:gd name="connsiteY54" fmla="*/ 2565400 h 4953000"/>
                <a:gd name="connsiteX55" fmla="*/ 2108200 w 2451100"/>
                <a:gd name="connsiteY55" fmla="*/ 2501900 h 4953000"/>
                <a:gd name="connsiteX56" fmla="*/ 2273300 w 2451100"/>
                <a:gd name="connsiteY56" fmla="*/ 2082800 h 4953000"/>
                <a:gd name="connsiteX57" fmla="*/ 2235200 w 2451100"/>
                <a:gd name="connsiteY57" fmla="*/ 2032000 h 4953000"/>
                <a:gd name="connsiteX58" fmla="*/ 2260600 w 2451100"/>
                <a:gd name="connsiteY58" fmla="*/ 1409700 h 4953000"/>
                <a:gd name="connsiteX59" fmla="*/ 1651000 w 2451100"/>
                <a:gd name="connsiteY59" fmla="*/ 863600 h 4953000"/>
                <a:gd name="connsiteX60" fmla="*/ 1612900 w 2451100"/>
                <a:gd name="connsiteY60" fmla="*/ 749300 h 4953000"/>
                <a:gd name="connsiteX61" fmla="*/ 1676400 w 2451100"/>
                <a:gd name="connsiteY61" fmla="*/ 609600 h 4953000"/>
                <a:gd name="connsiteX62" fmla="*/ 1689100 w 2451100"/>
                <a:gd name="connsiteY62" fmla="*/ 533400 h 4953000"/>
                <a:gd name="connsiteX63" fmla="*/ 1663700 w 2451100"/>
                <a:gd name="connsiteY63" fmla="*/ 520700 h 4953000"/>
                <a:gd name="connsiteX64" fmla="*/ 1651000 w 2451100"/>
                <a:gd name="connsiteY64" fmla="*/ 241300 h 4953000"/>
                <a:gd name="connsiteX65" fmla="*/ 1562100 w 2451100"/>
                <a:gd name="connsiteY65" fmla="*/ 88900 h 4953000"/>
                <a:gd name="connsiteX66" fmla="*/ 1371600 w 2451100"/>
                <a:gd name="connsiteY66" fmla="*/ 12700 h 4953000"/>
                <a:gd name="connsiteX67" fmla="*/ 1270000 w 2451100"/>
                <a:gd name="connsiteY67" fmla="*/ 0 h 495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451100" h="4953000">
                  <a:moveTo>
                    <a:pt x="1270000" y="0"/>
                  </a:moveTo>
                  <a:lnTo>
                    <a:pt x="1130300" y="114300"/>
                  </a:lnTo>
                  <a:lnTo>
                    <a:pt x="1028700" y="228600"/>
                  </a:lnTo>
                  <a:lnTo>
                    <a:pt x="1028700" y="355600"/>
                  </a:lnTo>
                  <a:lnTo>
                    <a:pt x="1028700" y="546100"/>
                  </a:lnTo>
                  <a:lnTo>
                    <a:pt x="1079500" y="596900"/>
                  </a:lnTo>
                  <a:lnTo>
                    <a:pt x="1168400" y="914400"/>
                  </a:lnTo>
                  <a:lnTo>
                    <a:pt x="1003300" y="914400"/>
                  </a:lnTo>
                  <a:lnTo>
                    <a:pt x="927100" y="1016000"/>
                  </a:lnTo>
                  <a:lnTo>
                    <a:pt x="876300" y="1270000"/>
                  </a:lnTo>
                  <a:lnTo>
                    <a:pt x="876300" y="1409700"/>
                  </a:lnTo>
                  <a:lnTo>
                    <a:pt x="889000" y="1473200"/>
                  </a:lnTo>
                  <a:lnTo>
                    <a:pt x="850900" y="1536700"/>
                  </a:lnTo>
                  <a:lnTo>
                    <a:pt x="850900" y="1612900"/>
                  </a:lnTo>
                  <a:lnTo>
                    <a:pt x="812800" y="1676400"/>
                  </a:lnTo>
                  <a:lnTo>
                    <a:pt x="266700" y="1460500"/>
                  </a:lnTo>
                  <a:lnTo>
                    <a:pt x="241300" y="1460500"/>
                  </a:lnTo>
                  <a:lnTo>
                    <a:pt x="0" y="2044700"/>
                  </a:lnTo>
                  <a:lnTo>
                    <a:pt x="254000" y="2133600"/>
                  </a:lnTo>
                  <a:lnTo>
                    <a:pt x="254000" y="2197100"/>
                  </a:lnTo>
                  <a:lnTo>
                    <a:pt x="355600" y="2197100"/>
                  </a:lnTo>
                  <a:lnTo>
                    <a:pt x="381000" y="2298700"/>
                  </a:lnTo>
                  <a:lnTo>
                    <a:pt x="584200" y="2362200"/>
                  </a:lnTo>
                  <a:lnTo>
                    <a:pt x="685800" y="2349500"/>
                  </a:lnTo>
                  <a:lnTo>
                    <a:pt x="952500" y="2451100"/>
                  </a:lnTo>
                  <a:lnTo>
                    <a:pt x="850900" y="2832100"/>
                  </a:lnTo>
                  <a:lnTo>
                    <a:pt x="914400" y="2984500"/>
                  </a:lnTo>
                  <a:lnTo>
                    <a:pt x="1016000" y="3848100"/>
                  </a:lnTo>
                  <a:lnTo>
                    <a:pt x="1092200" y="4127500"/>
                  </a:lnTo>
                  <a:lnTo>
                    <a:pt x="1003300" y="4216400"/>
                  </a:lnTo>
                  <a:lnTo>
                    <a:pt x="787400" y="4318000"/>
                  </a:lnTo>
                  <a:lnTo>
                    <a:pt x="787400" y="4419600"/>
                  </a:lnTo>
                  <a:lnTo>
                    <a:pt x="876300" y="4483100"/>
                  </a:lnTo>
                  <a:lnTo>
                    <a:pt x="1054100" y="4495800"/>
                  </a:lnTo>
                  <a:lnTo>
                    <a:pt x="1244600" y="4368800"/>
                  </a:lnTo>
                  <a:lnTo>
                    <a:pt x="1498600" y="4381500"/>
                  </a:lnTo>
                  <a:lnTo>
                    <a:pt x="1498600" y="4483100"/>
                  </a:lnTo>
                  <a:lnTo>
                    <a:pt x="1308100" y="4787900"/>
                  </a:lnTo>
                  <a:lnTo>
                    <a:pt x="1358900" y="4940300"/>
                  </a:lnTo>
                  <a:lnTo>
                    <a:pt x="1422400" y="4953000"/>
                  </a:lnTo>
                  <a:lnTo>
                    <a:pt x="1638300" y="4838700"/>
                  </a:lnTo>
                  <a:lnTo>
                    <a:pt x="1689100" y="4724400"/>
                  </a:lnTo>
                  <a:lnTo>
                    <a:pt x="1828800" y="4368800"/>
                  </a:lnTo>
                  <a:lnTo>
                    <a:pt x="2070100" y="4330700"/>
                  </a:lnTo>
                  <a:lnTo>
                    <a:pt x="2146300" y="4381500"/>
                  </a:lnTo>
                  <a:lnTo>
                    <a:pt x="2209800" y="4305300"/>
                  </a:lnTo>
                  <a:lnTo>
                    <a:pt x="2324100" y="4292600"/>
                  </a:lnTo>
                  <a:lnTo>
                    <a:pt x="2438400" y="4203700"/>
                  </a:lnTo>
                  <a:lnTo>
                    <a:pt x="2451100" y="3619500"/>
                  </a:lnTo>
                  <a:lnTo>
                    <a:pt x="2425700" y="3530600"/>
                  </a:lnTo>
                  <a:lnTo>
                    <a:pt x="2108200" y="3492500"/>
                  </a:lnTo>
                  <a:lnTo>
                    <a:pt x="1955800" y="3390900"/>
                  </a:lnTo>
                  <a:lnTo>
                    <a:pt x="1981200" y="3302000"/>
                  </a:lnTo>
                  <a:lnTo>
                    <a:pt x="2032000" y="3263900"/>
                  </a:lnTo>
                  <a:lnTo>
                    <a:pt x="2146300" y="2565400"/>
                  </a:lnTo>
                  <a:lnTo>
                    <a:pt x="2108200" y="2501900"/>
                  </a:lnTo>
                  <a:lnTo>
                    <a:pt x="2273300" y="2082800"/>
                  </a:lnTo>
                  <a:lnTo>
                    <a:pt x="2235200" y="2032000"/>
                  </a:lnTo>
                  <a:lnTo>
                    <a:pt x="2260600" y="1409700"/>
                  </a:lnTo>
                  <a:lnTo>
                    <a:pt x="1651000" y="863600"/>
                  </a:lnTo>
                  <a:lnTo>
                    <a:pt x="1612900" y="749300"/>
                  </a:lnTo>
                  <a:lnTo>
                    <a:pt x="1676400" y="609600"/>
                  </a:lnTo>
                  <a:lnTo>
                    <a:pt x="1689100" y="533400"/>
                  </a:lnTo>
                  <a:lnTo>
                    <a:pt x="1663700" y="520700"/>
                  </a:lnTo>
                  <a:lnTo>
                    <a:pt x="1651000" y="241300"/>
                  </a:lnTo>
                  <a:lnTo>
                    <a:pt x="1562100" y="88900"/>
                  </a:lnTo>
                  <a:lnTo>
                    <a:pt x="1371600" y="12700"/>
                  </a:lnTo>
                  <a:lnTo>
                    <a:pt x="1270000" y="0"/>
                  </a:ln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8858250" y="1570427"/>
              <a:ext cx="1035050" cy="2747573"/>
              <a:chOff x="8858250" y="1570427"/>
              <a:chExt cx="1035050" cy="2747573"/>
            </a:xfrm>
            <a:solidFill>
              <a:schemeClr val="bg1"/>
            </a:solidFill>
          </p:grpSpPr>
          <p:sp>
            <p:nvSpPr>
              <p:cNvPr id="17" name="Freeform 16"/>
              <p:cNvSpPr/>
              <p:nvPr/>
            </p:nvSpPr>
            <p:spPr>
              <a:xfrm>
                <a:off x="8858250" y="1718432"/>
                <a:ext cx="266700" cy="1181100"/>
              </a:xfrm>
              <a:custGeom>
                <a:avLst/>
                <a:gdLst>
                  <a:gd name="connsiteX0" fmla="*/ 152400 w 266700"/>
                  <a:gd name="connsiteY0" fmla="*/ 0 h 1181100"/>
                  <a:gd name="connsiteX1" fmla="*/ 165100 w 266700"/>
                  <a:gd name="connsiteY1" fmla="*/ 139700 h 1181100"/>
                  <a:gd name="connsiteX2" fmla="*/ 50800 w 266700"/>
                  <a:gd name="connsiteY2" fmla="*/ 546100 h 1181100"/>
                  <a:gd name="connsiteX3" fmla="*/ 0 w 266700"/>
                  <a:gd name="connsiteY3" fmla="*/ 1181100 h 1181100"/>
                  <a:gd name="connsiteX4" fmla="*/ 88900 w 266700"/>
                  <a:gd name="connsiteY4" fmla="*/ 838200 h 1181100"/>
                  <a:gd name="connsiteX5" fmla="*/ 165100 w 266700"/>
                  <a:gd name="connsiteY5" fmla="*/ 419100 h 1181100"/>
                  <a:gd name="connsiteX6" fmla="*/ 215900 w 266700"/>
                  <a:gd name="connsiteY6" fmla="*/ 241300 h 1181100"/>
                  <a:gd name="connsiteX7" fmla="*/ 228600 w 266700"/>
                  <a:gd name="connsiteY7" fmla="*/ 165100 h 1181100"/>
                  <a:gd name="connsiteX8" fmla="*/ 266700 w 266700"/>
                  <a:gd name="connsiteY8" fmla="*/ 165100 h 1181100"/>
                  <a:gd name="connsiteX9" fmla="*/ 152400 w 266700"/>
                  <a:gd name="connsiteY9" fmla="*/ 0 h 1181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6700" h="1181100">
                    <a:moveTo>
                      <a:pt x="152400" y="0"/>
                    </a:moveTo>
                    <a:lnTo>
                      <a:pt x="165100" y="139700"/>
                    </a:lnTo>
                    <a:lnTo>
                      <a:pt x="50800" y="546100"/>
                    </a:lnTo>
                    <a:lnTo>
                      <a:pt x="0" y="1181100"/>
                    </a:lnTo>
                    <a:lnTo>
                      <a:pt x="88900" y="838200"/>
                    </a:lnTo>
                    <a:lnTo>
                      <a:pt x="165100" y="419100"/>
                    </a:lnTo>
                    <a:lnTo>
                      <a:pt x="215900" y="241300"/>
                    </a:lnTo>
                    <a:lnTo>
                      <a:pt x="228600" y="165100"/>
                    </a:lnTo>
                    <a:lnTo>
                      <a:pt x="266700" y="165100"/>
                    </a:lnTo>
                    <a:lnTo>
                      <a:pt x="152400" y="0"/>
                    </a:lnTo>
                    <a:close/>
                  </a:path>
                </a:pathLst>
              </a:cu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Freeform 17"/>
              <p:cNvSpPr/>
              <p:nvPr/>
            </p:nvSpPr>
            <p:spPr>
              <a:xfrm>
                <a:off x="9124950" y="1570427"/>
                <a:ext cx="355600" cy="609600"/>
              </a:xfrm>
              <a:custGeom>
                <a:avLst/>
                <a:gdLst>
                  <a:gd name="connsiteX0" fmla="*/ 342900 w 355600"/>
                  <a:gd name="connsiteY0" fmla="*/ 0 h 609600"/>
                  <a:gd name="connsiteX1" fmla="*/ 355600 w 355600"/>
                  <a:gd name="connsiteY1" fmla="*/ 76200 h 609600"/>
                  <a:gd name="connsiteX2" fmla="*/ 38100 w 355600"/>
                  <a:gd name="connsiteY2" fmla="*/ 609600 h 609600"/>
                  <a:gd name="connsiteX3" fmla="*/ 0 w 355600"/>
                  <a:gd name="connsiteY3" fmla="*/ 342900 h 609600"/>
                  <a:gd name="connsiteX4" fmla="*/ 0 w 355600"/>
                  <a:gd name="connsiteY4" fmla="*/ 342900 h 609600"/>
                  <a:gd name="connsiteX5" fmla="*/ 114300 w 355600"/>
                  <a:gd name="connsiteY5" fmla="*/ 254000 h 609600"/>
                  <a:gd name="connsiteX6" fmla="*/ 165100 w 355600"/>
                  <a:gd name="connsiteY6" fmla="*/ 241300 h 609600"/>
                  <a:gd name="connsiteX7" fmla="*/ 254000 w 355600"/>
                  <a:gd name="connsiteY7" fmla="*/ 165100 h 609600"/>
                  <a:gd name="connsiteX8" fmla="*/ 342900 w 355600"/>
                  <a:gd name="connsiteY8" fmla="*/ 0 h 60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5600" h="609600">
                    <a:moveTo>
                      <a:pt x="342900" y="0"/>
                    </a:moveTo>
                    <a:lnTo>
                      <a:pt x="355600" y="76200"/>
                    </a:lnTo>
                    <a:lnTo>
                      <a:pt x="38100" y="609600"/>
                    </a:lnTo>
                    <a:lnTo>
                      <a:pt x="0" y="342900"/>
                    </a:lnTo>
                    <a:lnTo>
                      <a:pt x="0" y="342900"/>
                    </a:lnTo>
                    <a:lnTo>
                      <a:pt x="114300" y="254000"/>
                    </a:lnTo>
                    <a:lnTo>
                      <a:pt x="165100" y="241300"/>
                    </a:lnTo>
                    <a:lnTo>
                      <a:pt x="254000" y="165100"/>
                    </a:lnTo>
                    <a:lnTo>
                      <a:pt x="342900" y="0"/>
                    </a:lnTo>
                    <a:close/>
                  </a:path>
                </a:pathLst>
              </a:cu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Freeform 18"/>
              <p:cNvSpPr/>
              <p:nvPr/>
            </p:nvSpPr>
            <p:spPr>
              <a:xfrm>
                <a:off x="9715500" y="4241800"/>
                <a:ext cx="177800" cy="76200"/>
              </a:xfrm>
              <a:custGeom>
                <a:avLst/>
                <a:gdLst>
                  <a:gd name="connsiteX0" fmla="*/ 165100 w 177800"/>
                  <a:gd name="connsiteY0" fmla="*/ 76200 h 76200"/>
                  <a:gd name="connsiteX1" fmla="*/ 0 w 177800"/>
                  <a:gd name="connsiteY1" fmla="*/ 76200 h 76200"/>
                  <a:gd name="connsiteX2" fmla="*/ 76200 w 177800"/>
                  <a:gd name="connsiteY2" fmla="*/ 0 h 76200"/>
                  <a:gd name="connsiteX3" fmla="*/ 177800 w 177800"/>
                  <a:gd name="connsiteY3" fmla="*/ 25400 h 76200"/>
                  <a:gd name="connsiteX4" fmla="*/ 165100 w 177800"/>
                  <a:gd name="connsiteY4" fmla="*/ 76200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800" h="76200">
                    <a:moveTo>
                      <a:pt x="165100" y="76200"/>
                    </a:moveTo>
                    <a:lnTo>
                      <a:pt x="0" y="76200"/>
                    </a:lnTo>
                    <a:lnTo>
                      <a:pt x="76200" y="0"/>
                    </a:lnTo>
                    <a:lnTo>
                      <a:pt x="177800" y="25400"/>
                    </a:lnTo>
                    <a:lnTo>
                      <a:pt x="165100" y="76200"/>
                    </a:lnTo>
                    <a:close/>
                  </a:path>
                </a:pathLst>
              </a:cu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2" name="Rectangle 31"/>
          <p:cNvSpPr/>
          <p:nvPr/>
        </p:nvSpPr>
        <p:spPr>
          <a:xfrm>
            <a:off x="762342" y="4433688"/>
            <a:ext cx="1066800" cy="4953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algn="ctr"/>
            <a:r>
              <a:rPr 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R</a:t>
            </a:r>
            <a:r>
              <a:rPr lang="en-US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SPONSIBLE</a:t>
            </a:r>
            <a:endParaRPr lang="en-US" sz="1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2636040" y="2176847"/>
            <a:ext cx="2021797" cy="2194560"/>
            <a:chOff x="2667826" y="1859347"/>
            <a:chExt cx="2021797" cy="2194560"/>
          </a:xfrm>
        </p:grpSpPr>
        <p:sp>
          <p:nvSpPr>
            <p:cNvPr id="4" name="Freeform 3"/>
            <p:cNvSpPr/>
            <p:nvPr/>
          </p:nvSpPr>
          <p:spPr>
            <a:xfrm>
              <a:off x="2667826" y="1859347"/>
              <a:ext cx="2021797" cy="2194560"/>
            </a:xfrm>
            <a:custGeom>
              <a:avLst/>
              <a:gdLst>
                <a:gd name="connsiteX0" fmla="*/ 1402080 w 3299460"/>
                <a:gd name="connsiteY0" fmla="*/ 15240 h 3581400"/>
                <a:gd name="connsiteX1" fmla="*/ 1287780 w 3299460"/>
                <a:gd name="connsiteY1" fmla="*/ 53340 h 3581400"/>
                <a:gd name="connsiteX2" fmla="*/ 1196340 w 3299460"/>
                <a:gd name="connsiteY2" fmla="*/ 175260 h 3581400"/>
                <a:gd name="connsiteX3" fmla="*/ 1181100 w 3299460"/>
                <a:gd name="connsiteY3" fmla="*/ 434340 h 3581400"/>
                <a:gd name="connsiteX4" fmla="*/ 1150620 w 3299460"/>
                <a:gd name="connsiteY4" fmla="*/ 411480 h 3581400"/>
                <a:gd name="connsiteX5" fmla="*/ 1127760 w 3299460"/>
                <a:gd name="connsiteY5" fmla="*/ 419100 h 3581400"/>
                <a:gd name="connsiteX6" fmla="*/ 1112520 w 3299460"/>
                <a:gd name="connsiteY6" fmla="*/ 449580 h 3581400"/>
                <a:gd name="connsiteX7" fmla="*/ 1127760 w 3299460"/>
                <a:gd name="connsiteY7" fmla="*/ 662940 h 3581400"/>
                <a:gd name="connsiteX8" fmla="*/ 1173480 w 3299460"/>
                <a:gd name="connsiteY8" fmla="*/ 708660 h 3581400"/>
                <a:gd name="connsiteX9" fmla="*/ 1196340 w 3299460"/>
                <a:gd name="connsiteY9" fmla="*/ 708660 h 3581400"/>
                <a:gd name="connsiteX10" fmla="*/ 1211580 w 3299460"/>
                <a:gd name="connsiteY10" fmla="*/ 929640 h 3581400"/>
                <a:gd name="connsiteX11" fmla="*/ 1165860 w 3299460"/>
                <a:gd name="connsiteY11" fmla="*/ 952500 h 3581400"/>
                <a:gd name="connsiteX12" fmla="*/ 1181100 w 3299460"/>
                <a:gd name="connsiteY12" fmla="*/ 1005840 h 3581400"/>
                <a:gd name="connsiteX13" fmla="*/ 1120140 w 3299460"/>
                <a:gd name="connsiteY13" fmla="*/ 1028700 h 3581400"/>
                <a:gd name="connsiteX14" fmla="*/ 929640 w 3299460"/>
                <a:gd name="connsiteY14" fmla="*/ 1097280 h 3581400"/>
                <a:gd name="connsiteX15" fmla="*/ 784860 w 3299460"/>
                <a:gd name="connsiteY15" fmla="*/ 1143000 h 3581400"/>
                <a:gd name="connsiteX16" fmla="*/ 601980 w 3299460"/>
                <a:gd name="connsiteY16" fmla="*/ 1173480 h 3581400"/>
                <a:gd name="connsiteX17" fmla="*/ 518160 w 3299460"/>
                <a:gd name="connsiteY17" fmla="*/ 1219200 h 3581400"/>
                <a:gd name="connsiteX18" fmla="*/ 426720 w 3299460"/>
                <a:gd name="connsiteY18" fmla="*/ 1295400 h 3581400"/>
                <a:gd name="connsiteX19" fmla="*/ 388620 w 3299460"/>
                <a:gd name="connsiteY19" fmla="*/ 1455420 h 3581400"/>
                <a:gd name="connsiteX20" fmla="*/ 350520 w 3299460"/>
                <a:gd name="connsiteY20" fmla="*/ 1577340 h 3581400"/>
                <a:gd name="connsiteX21" fmla="*/ 304800 w 3299460"/>
                <a:gd name="connsiteY21" fmla="*/ 1653540 h 3581400"/>
                <a:gd name="connsiteX22" fmla="*/ 312420 w 3299460"/>
                <a:gd name="connsiteY22" fmla="*/ 1722120 h 3581400"/>
                <a:gd name="connsiteX23" fmla="*/ 236220 w 3299460"/>
                <a:gd name="connsiteY23" fmla="*/ 1821180 h 3581400"/>
                <a:gd name="connsiteX24" fmla="*/ 236220 w 3299460"/>
                <a:gd name="connsiteY24" fmla="*/ 1882140 h 3581400"/>
                <a:gd name="connsiteX25" fmla="*/ 182880 w 3299460"/>
                <a:gd name="connsiteY25" fmla="*/ 1958340 h 3581400"/>
                <a:gd name="connsiteX26" fmla="*/ 167640 w 3299460"/>
                <a:gd name="connsiteY26" fmla="*/ 2049780 h 3581400"/>
                <a:gd name="connsiteX27" fmla="*/ 114300 w 3299460"/>
                <a:gd name="connsiteY27" fmla="*/ 2103120 h 3581400"/>
                <a:gd name="connsiteX28" fmla="*/ 60960 w 3299460"/>
                <a:gd name="connsiteY28" fmla="*/ 2148840 h 3581400"/>
                <a:gd name="connsiteX29" fmla="*/ 45720 w 3299460"/>
                <a:gd name="connsiteY29" fmla="*/ 2255520 h 3581400"/>
                <a:gd name="connsiteX30" fmla="*/ 0 w 3299460"/>
                <a:gd name="connsiteY30" fmla="*/ 2354580 h 3581400"/>
                <a:gd name="connsiteX31" fmla="*/ 15240 w 3299460"/>
                <a:gd name="connsiteY31" fmla="*/ 2476500 h 3581400"/>
                <a:gd name="connsiteX32" fmla="*/ 45720 w 3299460"/>
                <a:gd name="connsiteY32" fmla="*/ 2583180 h 3581400"/>
                <a:gd name="connsiteX33" fmla="*/ 45720 w 3299460"/>
                <a:gd name="connsiteY33" fmla="*/ 2636520 h 3581400"/>
                <a:gd name="connsiteX34" fmla="*/ 137160 w 3299460"/>
                <a:gd name="connsiteY34" fmla="*/ 2887980 h 3581400"/>
                <a:gd name="connsiteX35" fmla="*/ 297180 w 3299460"/>
                <a:gd name="connsiteY35" fmla="*/ 3116580 h 3581400"/>
                <a:gd name="connsiteX36" fmla="*/ 518160 w 3299460"/>
                <a:gd name="connsiteY36" fmla="*/ 3444240 h 3581400"/>
                <a:gd name="connsiteX37" fmla="*/ 525780 w 3299460"/>
                <a:gd name="connsiteY37" fmla="*/ 3581400 h 3581400"/>
                <a:gd name="connsiteX38" fmla="*/ 2781300 w 3299460"/>
                <a:gd name="connsiteY38" fmla="*/ 3581400 h 3581400"/>
                <a:gd name="connsiteX39" fmla="*/ 2758440 w 3299460"/>
                <a:gd name="connsiteY39" fmla="*/ 3398520 h 3581400"/>
                <a:gd name="connsiteX40" fmla="*/ 2796540 w 3299460"/>
                <a:gd name="connsiteY40" fmla="*/ 3398520 h 3581400"/>
                <a:gd name="connsiteX41" fmla="*/ 2743200 w 3299460"/>
                <a:gd name="connsiteY41" fmla="*/ 3116580 h 3581400"/>
                <a:gd name="connsiteX42" fmla="*/ 3086100 w 3299460"/>
                <a:gd name="connsiteY42" fmla="*/ 2697480 h 3581400"/>
                <a:gd name="connsiteX43" fmla="*/ 3299460 w 3299460"/>
                <a:gd name="connsiteY43" fmla="*/ 2354580 h 3581400"/>
                <a:gd name="connsiteX44" fmla="*/ 3291840 w 3299460"/>
                <a:gd name="connsiteY44" fmla="*/ 2209800 h 3581400"/>
                <a:gd name="connsiteX45" fmla="*/ 3200400 w 3299460"/>
                <a:gd name="connsiteY45" fmla="*/ 2026920 h 3581400"/>
                <a:gd name="connsiteX46" fmla="*/ 3025140 w 3299460"/>
                <a:gd name="connsiteY46" fmla="*/ 1775460 h 3581400"/>
                <a:gd name="connsiteX47" fmla="*/ 2987040 w 3299460"/>
                <a:gd name="connsiteY47" fmla="*/ 1706880 h 3581400"/>
                <a:gd name="connsiteX48" fmla="*/ 2948940 w 3299460"/>
                <a:gd name="connsiteY48" fmla="*/ 1729740 h 3581400"/>
                <a:gd name="connsiteX49" fmla="*/ 2857500 w 3299460"/>
                <a:gd name="connsiteY49" fmla="*/ 1584960 h 3581400"/>
                <a:gd name="connsiteX50" fmla="*/ 2788920 w 3299460"/>
                <a:gd name="connsiteY50" fmla="*/ 1455420 h 3581400"/>
                <a:gd name="connsiteX51" fmla="*/ 2750820 w 3299460"/>
                <a:gd name="connsiteY51" fmla="*/ 1455420 h 3581400"/>
                <a:gd name="connsiteX52" fmla="*/ 2705100 w 3299460"/>
                <a:gd name="connsiteY52" fmla="*/ 1417320 h 3581400"/>
                <a:gd name="connsiteX53" fmla="*/ 2667000 w 3299460"/>
                <a:gd name="connsiteY53" fmla="*/ 1188720 h 3581400"/>
                <a:gd name="connsiteX54" fmla="*/ 2613660 w 3299460"/>
                <a:gd name="connsiteY54" fmla="*/ 1135380 h 3581400"/>
                <a:gd name="connsiteX55" fmla="*/ 1859280 w 3299460"/>
                <a:gd name="connsiteY55" fmla="*/ 975360 h 3581400"/>
                <a:gd name="connsiteX56" fmla="*/ 1760220 w 3299460"/>
                <a:gd name="connsiteY56" fmla="*/ 929640 h 3581400"/>
                <a:gd name="connsiteX57" fmla="*/ 1805940 w 3299460"/>
                <a:gd name="connsiteY57" fmla="*/ 769620 h 3581400"/>
                <a:gd name="connsiteX58" fmla="*/ 1851660 w 3299460"/>
                <a:gd name="connsiteY58" fmla="*/ 739140 h 3581400"/>
                <a:gd name="connsiteX59" fmla="*/ 1874520 w 3299460"/>
                <a:gd name="connsiteY59" fmla="*/ 655320 h 3581400"/>
                <a:gd name="connsiteX60" fmla="*/ 1874520 w 3299460"/>
                <a:gd name="connsiteY60" fmla="*/ 548640 h 3581400"/>
                <a:gd name="connsiteX61" fmla="*/ 1882140 w 3299460"/>
                <a:gd name="connsiteY61" fmla="*/ 480060 h 3581400"/>
                <a:gd name="connsiteX62" fmla="*/ 1859280 w 3299460"/>
                <a:gd name="connsiteY62" fmla="*/ 472440 h 3581400"/>
                <a:gd name="connsiteX63" fmla="*/ 1866900 w 3299460"/>
                <a:gd name="connsiteY63" fmla="*/ 381000 h 3581400"/>
                <a:gd name="connsiteX64" fmla="*/ 1859280 w 3299460"/>
                <a:gd name="connsiteY64" fmla="*/ 228600 h 3581400"/>
                <a:gd name="connsiteX65" fmla="*/ 1813560 w 3299460"/>
                <a:gd name="connsiteY65" fmla="*/ 144780 h 3581400"/>
                <a:gd name="connsiteX66" fmla="*/ 1737360 w 3299460"/>
                <a:gd name="connsiteY66" fmla="*/ 76200 h 3581400"/>
                <a:gd name="connsiteX67" fmla="*/ 1699260 w 3299460"/>
                <a:gd name="connsiteY67" fmla="*/ 60960 h 3581400"/>
                <a:gd name="connsiteX68" fmla="*/ 1600200 w 3299460"/>
                <a:gd name="connsiteY68" fmla="*/ 7620 h 3581400"/>
                <a:gd name="connsiteX69" fmla="*/ 1485900 w 3299460"/>
                <a:gd name="connsiteY69" fmla="*/ 0 h 3581400"/>
                <a:gd name="connsiteX70" fmla="*/ 1402080 w 3299460"/>
                <a:gd name="connsiteY70" fmla="*/ 15240 h 3581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3299460" h="3581400">
                  <a:moveTo>
                    <a:pt x="1402080" y="15240"/>
                  </a:moveTo>
                  <a:lnTo>
                    <a:pt x="1287780" y="53340"/>
                  </a:lnTo>
                  <a:lnTo>
                    <a:pt x="1196340" y="175260"/>
                  </a:lnTo>
                  <a:lnTo>
                    <a:pt x="1181100" y="434340"/>
                  </a:lnTo>
                  <a:lnTo>
                    <a:pt x="1150620" y="411480"/>
                  </a:lnTo>
                  <a:lnTo>
                    <a:pt x="1127760" y="419100"/>
                  </a:lnTo>
                  <a:lnTo>
                    <a:pt x="1112520" y="449580"/>
                  </a:lnTo>
                  <a:lnTo>
                    <a:pt x="1127760" y="662940"/>
                  </a:lnTo>
                  <a:lnTo>
                    <a:pt x="1173480" y="708660"/>
                  </a:lnTo>
                  <a:lnTo>
                    <a:pt x="1196340" y="708660"/>
                  </a:lnTo>
                  <a:lnTo>
                    <a:pt x="1211580" y="929640"/>
                  </a:lnTo>
                  <a:lnTo>
                    <a:pt x="1165860" y="952500"/>
                  </a:lnTo>
                  <a:lnTo>
                    <a:pt x="1181100" y="1005840"/>
                  </a:lnTo>
                  <a:lnTo>
                    <a:pt x="1120140" y="1028700"/>
                  </a:lnTo>
                  <a:lnTo>
                    <a:pt x="929640" y="1097280"/>
                  </a:lnTo>
                  <a:lnTo>
                    <a:pt x="784860" y="1143000"/>
                  </a:lnTo>
                  <a:lnTo>
                    <a:pt x="601980" y="1173480"/>
                  </a:lnTo>
                  <a:lnTo>
                    <a:pt x="518160" y="1219200"/>
                  </a:lnTo>
                  <a:lnTo>
                    <a:pt x="426720" y="1295400"/>
                  </a:lnTo>
                  <a:lnTo>
                    <a:pt x="388620" y="1455420"/>
                  </a:lnTo>
                  <a:lnTo>
                    <a:pt x="350520" y="1577340"/>
                  </a:lnTo>
                  <a:lnTo>
                    <a:pt x="304800" y="1653540"/>
                  </a:lnTo>
                  <a:lnTo>
                    <a:pt x="312420" y="1722120"/>
                  </a:lnTo>
                  <a:lnTo>
                    <a:pt x="236220" y="1821180"/>
                  </a:lnTo>
                  <a:lnTo>
                    <a:pt x="236220" y="1882140"/>
                  </a:lnTo>
                  <a:lnTo>
                    <a:pt x="182880" y="1958340"/>
                  </a:lnTo>
                  <a:lnTo>
                    <a:pt x="167640" y="2049780"/>
                  </a:lnTo>
                  <a:lnTo>
                    <a:pt x="114300" y="2103120"/>
                  </a:lnTo>
                  <a:lnTo>
                    <a:pt x="60960" y="2148840"/>
                  </a:lnTo>
                  <a:lnTo>
                    <a:pt x="45720" y="2255520"/>
                  </a:lnTo>
                  <a:lnTo>
                    <a:pt x="0" y="2354580"/>
                  </a:lnTo>
                  <a:lnTo>
                    <a:pt x="15240" y="2476500"/>
                  </a:lnTo>
                  <a:lnTo>
                    <a:pt x="45720" y="2583180"/>
                  </a:lnTo>
                  <a:lnTo>
                    <a:pt x="45720" y="2636520"/>
                  </a:lnTo>
                  <a:lnTo>
                    <a:pt x="137160" y="2887980"/>
                  </a:lnTo>
                  <a:lnTo>
                    <a:pt x="297180" y="3116580"/>
                  </a:lnTo>
                  <a:lnTo>
                    <a:pt x="518160" y="3444240"/>
                  </a:lnTo>
                  <a:lnTo>
                    <a:pt x="525780" y="3581400"/>
                  </a:lnTo>
                  <a:lnTo>
                    <a:pt x="2781300" y="3581400"/>
                  </a:lnTo>
                  <a:lnTo>
                    <a:pt x="2758440" y="3398520"/>
                  </a:lnTo>
                  <a:lnTo>
                    <a:pt x="2796540" y="3398520"/>
                  </a:lnTo>
                  <a:lnTo>
                    <a:pt x="2743200" y="3116580"/>
                  </a:lnTo>
                  <a:lnTo>
                    <a:pt x="3086100" y="2697480"/>
                  </a:lnTo>
                  <a:lnTo>
                    <a:pt x="3299460" y="2354580"/>
                  </a:lnTo>
                  <a:lnTo>
                    <a:pt x="3291840" y="2209800"/>
                  </a:lnTo>
                  <a:lnTo>
                    <a:pt x="3200400" y="2026920"/>
                  </a:lnTo>
                  <a:lnTo>
                    <a:pt x="3025140" y="1775460"/>
                  </a:lnTo>
                  <a:lnTo>
                    <a:pt x="2987040" y="1706880"/>
                  </a:lnTo>
                  <a:lnTo>
                    <a:pt x="2948940" y="1729740"/>
                  </a:lnTo>
                  <a:lnTo>
                    <a:pt x="2857500" y="1584960"/>
                  </a:lnTo>
                  <a:lnTo>
                    <a:pt x="2788920" y="1455420"/>
                  </a:lnTo>
                  <a:lnTo>
                    <a:pt x="2750820" y="1455420"/>
                  </a:lnTo>
                  <a:lnTo>
                    <a:pt x="2705100" y="1417320"/>
                  </a:lnTo>
                  <a:lnTo>
                    <a:pt x="2667000" y="1188720"/>
                  </a:lnTo>
                  <a:lnTo>
                    <a:pt x="2613660" y="1135380"/>
                  </a:lnTo>
                  <a:lnTo>
                    <a:pt x="1859280" y="975360"/>
                  </a:lnTo>
                  <a:lnTo>
                    <a:pt x="1760220" y="929640"/>
                  </a:lnTo>
                  <a:lnTo>
                    <a:pt x="1805940" y="769620"/>
                  </a:lnTo>
                  <a:lnTo>
                    <a:pt x="1851660" y="739140"/>
                  </a:lnTo>
                  <a:lnTo>
                    <a:pt x="1874520" y="655320"/>
                  </a:lnTo>
                  <a:lnTo>
                    <a:pt x="1874520" y="548640"/>
                  </a:lnTo>
                  <a:lnTo>
                    <a:pt x="1882140" y="480060"/>
                  </a:lnTo>
                  <a:lnTo>
                    <a:pt x="1859280" y="472440"/>
                  </a:lnTo>
                  <a:lnTo>
                    <a:pt x="1866900" y="381000"/>
                  </a:lnTo>
                  <a:lnTo>
                    <a:pt x="1859280" y="228600"/>
                  </a:lnTo>
                  <a:lnTo>
                    <a:pt x="1813560" y="144780"/>
                  </a:lnTo>
                  <a:lnTo>
                    <a:pt x="1737360" y="76200"/>
                  </a:lnTo>
                  <a:lnTo>
                    <a:pt x="1699260" y="60960"/>
                  </a:lnTo>
                  <a:lnTo>
                    <a:pt x="1600200" y="7620"/>
                  </a:lnTo>
                  <a:lnTo>
                    <a:pt x="1485900" y="0"/>
                  </a:lnTo>
                  <a:lnTo>
                    <a:pt x="1402080" y="1524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Freeform 5"/>
            <p:cNvSpPr/>
            <p:nvPr/>
          </p:nvSpPr>
          <p:spPr>
            <a:xfrm>
              <a:off x="3382226" y="2428999"/>
              <a:ext cx="135409" cy="340857"/>
            </a:xfrm>
            <a:custGeom>
              <a:avLst/>
              <a:gdLst>
                <a:gd name="connsiteX0" fmla="*/ 38100 w 220980"/>
                <a:gd name="connsiteY0" fmla="*/ 0 h 556260"/>
                <a:gd name="connsiteX1" fmla="*/ 0 w 220980"/>
                <a:gd name="connsiteY1" fmla="*/ 53340 h 556260"/>
                <a:gd name="connsiteX2" fmla="*/ 0 w 220980"/>
                <a:gd name="connsiteY2" fmla="*/ 167640 h 556260"/>
                <a:gd name="connsiteX3" fmla="*/ 15240 w 220980"/>
                <a:gd name="connsiteY3" fmla="*/ 281940 h 556260"/>
                <a:gd name="connsiteX4" fmla="*/ 68580 w 220980"/>
                <a:gd name="connsiteY4" fmla="*/ 556260 h 556260"/>
                <a:gd name="connsiteX5" fmla="*/ 152400 w 220980"/>
                <a:gd name="connsiteY5" fmla="*/ 373380 h 556260"/>
                <a:gd name="connsiteX6" fmla="*/ 175260 w 220980"/>
                <a:gd name="connsiteY6" fmla="*/ 304800 h 556260"/>
                <a:gd name="connsiteX7" fmla="*/ 220980 w 220980"/>
                <a:gd name="connsiteY7" fmla="*/ 281940 h 556260"/>
                <a:gd name="connsiteX8" fmla="*/ 182880 w 220980"/>
                <a:gd name="connsiteY8" fmla="*/ 251460 h 556260"/>
                <a:gd name="connsiteX9" fmla="*/ 83820 w 220980"/>
                <a:gd name="connsiteY9" fmla="*/ 167640 h 556260"/>
                <a:gd name="connsiteX10" fmla="*/ 53340 w 220980"/>
                <a:gd name="connsiteY10" fmla="*/ 99060 h 556260"/>
                <a:gd name="connsiteX11" fmla="*/ 38100 w 220980"/>
                <a:gd name="connsiteY11" fmla="*/ 0 h 55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0980" h="556260">
                  <a:moveTo>
                    <a:pt x="38100" y="0"/>
                  </a:moveTo>
                  <a:lnTo>
                    <a:pt x="0" y="53340"/>
                  </a:lnTo>
                  <a:lnTo>
                    <a:pt x="0" y="167640"/>
                  </a:lnTo>
                  <a:lnTo>
                    <a:pt x="15240" y="281940"/>
                  </a:lnTo>
                  <a:lnTo>
                    <a:pt x="68580" y="556260"/>
                  </a:lnTo>
                  <a:lnTo>
                    <a:pt x="152400" y="373380"/>
                  </a:lnTo>
                  <a:lnTo>
                    <a:pt x="175260" y="304800"/>
                  </a:lnTo>
                  <a:lnTo>
                    <a:pt x="220980" y="281940"/>
                  </a:lnTo>
                  <a:lnTo>
                    <a:pt x="182880" y="251460"/>
                  </a:lnTo>
                  <a:lnTo>
                    <a:pt x="83820" y="167640"/>
                  </a:lnTo>
                  <a:lnTo>
                    <a:pt x="53340" y="99060"/>
                  </a:lnTo>
                  <a:lnTo>
                    <a:pt x="3810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eform 6"/>
            <p:cNvSpPr/>
            <p:nvPr/>
          </p:nvSpPr>
          <p:spPr>
            <a:xfrm>
              <a:off x="3559658" y="2464019"/>
              <a:ext cx="186771" cy="280157"/>
            </a:xfrm>
            <a:custGeom>
              <a:avLst/>
              <a:gdLst>
                <a:gd name="connsiteX0" fmla="*/ 289560 w 304800"/>
                <a:gd name="connsiteY0" fmla="*/ 0 h 457200"/>
                <a:gd name="connsiteX1" fmla="*/ 236220 w 304800"/>
                <a:gd name="connsiteY1" fmla="*/ 53340 h 457200"/>
                <a:gd name="connsiteX2" fmla="*/ 152400 w 304800"/>
                <a:gd name="connsiteY2" fmla="*/ 129540 h 457200"/>
                <a:gd name="connsiteX3" fmla="*/ 91440 w 304800"/>
                <a:gd name="connsiteY3" fmla="*/ 137160 h 457200"/>
                <a:gd name="connsiteX4" fmla="*/ 0 w 304800"/>
                <a:gd name="connsiteY4" fmla="*/ 213360 h 457200"/>
                <a:gd name="connsiteX5" fmla="*/ 190500 w 304800"/>
                <a:gd name="connsiteY5" fmla="*/ 457200 h 457200"/>
                <a:gd name="connsiteX6" fmla="*/ 274320 w 304800"/>
                <a:gd name="connsiteY6" fmla="*/ 251460 h 457200"/>
                <a:gd name="connsiteX7" fmla="*/ 304800 w 304800"/>
                <a:gd name="connsiteY7" fmla="*/ 137160 h 457200"/>
                <a:gd name="connsiteX8" fmla="*/ 289560 w 304800"/>
                <a:gd name="connsiteY8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4800" h="457200">
                  <a:moveTo>
                    <a:pt x="289560" y="0"/>
                  </a:moveTo>
                  <a:lnTo>
                    <a:pt x="236220" y="53340"/>
                  </a:lnTo>
                  <a:lnTo>
                    <a:pt x="152400" y="129540"/>
                  </a:lnTo>
                  <a:lnTo>
                    <a:pt x="91440" y="137160"/>
                  </a:lnTo>
                  <a:lnTo>
                    <a:pt x="0" y="213360"/>
                  </a:lnTo>
                  <a:lnTo>
                    <a:pt x="190500" y="457200"/>
                  </a:lnTo>
                  <a:lnTo>
                    <a:pt x="274320" y="251460"/>
                  </a:lnTo>
                  <a:lnTo>
                    <a:pt x="304800" y="137160"/>
                  </a:lnTo>
                  <a:lnTo>
                    <a:pt x="289560" y="0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 7"/>
            <p:cNvSpPr/>
            <p:nvPr/>
          </p:nvSpPr>
          <p:spPr>
            <a:xfrm>
              <a:off x="3531643" y="2621091"/>
              <a:ext cx="457589" cy="1218681"/>
            </a:xfrm>
            <a:custGeom>
              <a:avLst/>
              <a:gdLst>
                <a:gd name="connsiteX0" fmla="*/ 746760 w 746760"/>
                <a:gd name="connsiteY0" fmla="*/ 1653540 h 1988820"/>
                <a:gd name="connsiteX1" fmla="*/ 601980 w 746760"/>
                <a:gd name="connsiteY1" fmla="*/ 1744980 h 1988820"/>
                <a:gd name="connsiteX2" fmla="*/ 449580 w 746760"/>
                <a:gd name="connsiteY2" fmla="*/ 1767840 h 1988820"/>
                <a:gd name="connsiteX3" fmla="*/ 373380 w 746760"/>
                <a:gd name="connsiteY3" fmla="*/ 1790700 h 1988820"/>
                <a:gd name="connsiteX4" fmla="*/ 304800 w 746760"/>
                <a:gd name="connsiteY4" fmla="*/ 1859280 h 1988820"/>
                <a:gd name="connsiteX5" fmla="*/ 190500 w 746760"/>
                <a:gd name="connsiteY5" fmla="*/ 1920240 h 1988820"/>
                <a:gd name="connsiteX6" fmla="*/ 144780 w 746760"/>
                <a:gd name="connsiteY6" fmla="*/ 1943100 h 1988820"/>
                <a:gd name="connsiteX7" fmla="*/ 144780 w 746760"/>
                <a:gd name="connsiteY7" fmla="*/ 1988820 h 1988820"/>
                <a:gd name="connsiteX8" fmla="*/ 0 w 746760"/>
                <a:gd name="connsiteY8" fmla="*/ 1965960 h 1988820"/>
                <a:gd name="connsiteX9" fmla="*/ 144780 w 746760"/>
                <a:gd name="connsiteY9" fmla="*/ 1874520 h 1988820"/>
                <a:gd name="connsiteX10" fmla="*/ 160020 w 746760"/>
                <a:gd name="connsiteY10" fmla="*/ 510540 h 1988820"/>
                <a:gd name="connsiteX11" fmla="*/ 129540 w 746760"/>
                <a:gd name="connsiteY11" fmla="*/ 281940 h 1988820"/>
                <a:gd name="connsiteX12" fmla="*/ 68580 w 746760"/>
                <a:gd name="connsiteY12" fmla="*/ 106680 h 1988820"/>
                <a:gd name="connsiteX13" fmla="*/ 121920 w 746760"/>
                <a:gd name="connsiteY13" fmla="*/ 45720 h 1988820"/>
                <a:gd name="connsiteX14" fmla="*/ 243840 w 746760"/>
                <a:gd name="connsiteY14" fmla="*/ 190500 h 1988820"/>
                <a:gd name="connsiteX15" fmla="*/ 327660 w 746760"/>
                <a:gd name="connsiteY15" fmla="*/ 0 h 1988820"/>
                <a:gd name="connsiteX16" fmla="*/ 297180 w 746760"/>
                <a:gd name="connsiteY16" fmla="*/ 762000 h 1988820"/>
                <a:gd name="connsiteX17" fmla="*/ 350520 w 746760"/>
                <a:gd name="connsiteY17" fmla="*/ 1089660 h 1988820"/>
                <a:gd name="connsiteX18" fmla="*/ 457200 w 746760"/>
                <a:gd name="connsiteY18" fmla="*/ 1295400 h 1988820"/>
                <a:gd name="connsiteX19" fmla="*/ 647700 w 746760"/>
                <a:gd name="connsiteY19" fmla="*/ 1470660 h 1988820"/>
                <a:gd name="connsiteX20" fmla="*/ 662940 w 746760"/>
                <a:gd name="connsiteY20" fmla="*/ 1562100 h 1988820"/>
                <a:gd name="connsiteX21" fmla="*/ 746760 w 746760"/>
                <a:gd name="connsiteY21" fmla="*/ 1653540 h 198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46760" h="1988820">
                  <a:moveTo>
                    <a:pt x="746760" y="1653540"/>
                  </a:moveTo>
                  <a:lnTo>
                    <a:pt x="601980" y="1744980"/>
                  </a:lnTo>
                  <a:lnTo>
                    <a:pt x="449580" y="1767840"/>
                  </a:lnTo>
                  <a:lnTo>
                    <a:pt x="373380" y="1790700"/>
                  </a:lnTo>
                  <a:lnTo>
                    <a:pt x="304800" y="1859280"/>
                  </a:lnTo>
                  <a:lnTo>
                    <a:pt x="190500" y="1920240"/>
                  </a:lnTo>
                  <a:lnTo>
                    <a:pt x="144780" y="1943100"/>
                  </a:lnTo>
                  <a:lnTo>
                    <a:pt x="144780" y="1988820"/>
                  </a:lnTo>
                  <a:lnTo>
                    <a:pt x="0" y="1965960"/>
                  </a:lnTo>
                  <a:lnTo>
                    <a:pt x="144780" y="1874520"/>
                  </a:lnTo>
                  <a:lnTo>
                    <a:pt x="160020" y="510540"/>
                  </a:lnTo>
                  <a:lnTo>
                    <a:pt x="129540" y="281940"/>
                  </a:lnTo>
                  <a:lnTo>
                    <a:pt x="68580" y="106680"/>
                  </a:lnTo>
                  <a:lnTo>
                    <a:pt x="121920" y="45720"/>
                  </a:lnTo>
                  <a:lnTo>
                    <a:pt x="243840" y="190500"/>
                  </a:lnTo>
                  <a:lnTo>
                    <a:pt x="327660" y="0"/>
                  </a:lnTo>
                  <a:lnTo>
                    <a:pt x="297180" y="762000"/>
                  </a:lnTo>
                  <a:lnTo>
                    <a:pt x="350520" y="1089660"/>
                  </a:lnTo>
                  <a:lnTo>
                    <a:pt x="457200" y="1295400"/>
                  </a:lnTo>
                  <a:lnTo>
                    <a:pt x="647700" y="1470660"/>
                  </a:lnTo>
                  <a:lnTo>
                    <a:pt x="662940" y="1562100"/>
                  </a:lnTo>
                  <a:lnTo>
                    <a:pt x="746760" y="165354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 8"/>
            <p:cNvSpPr/>
            <p:nvPr/>
          </p:nvSpPr>
          <p:spPr>
            <a:xfrm>
              <a:off x="3195455" y="2532375"/>
              <a:ext cx="308172" cy="1326074"/>
            </a:xfrm>
            <a:custGeom>
              <a:avLst/>
              <a:gdLst>
                <a:gd name="connsiteX0" fmla="*/ 449580 w 502920"/>
                <a:gd name="connsiteY0" fmla="*/ 220980 h 2164080"/>
                <a:gd name="connsiteX1" fmla="*/ 502920 w 502920"/>
                <a:gd name="connsiteY1" fmla="*/ 266700 h 2164080"/>
                <a:gd name="connsiteX2" fmla="*/ 388620 w 502920"/>
                <a:gd name="connsiteY2" fmla="*/ 556260 h 2164080"/>
                <a:gd name="connsiteX3" fmla="*/ 320040 w 502920"/>
                <a:gd name="connsiteY3" fmla="*/ 960120 h 2164080"/>
                <a:gd name="connsiteX4" fmla="*/ 259080 w 502920"/>
                <a:gd name="connsiteY4" fmla="*/ 2042160 h 2164080"/>
                <a:gd name="connsiteX5" fmla="*/ 373380 w 502920"/>
                <a:gd name="connsiteY5" fmla="*/ 2164080 h 2164080"/>
                <a:gd name="connsiteX6" fmla="*/ 190500 w 502920"/>
                <a:gd name="connsiteY6" fmla="*/ 2164080 h 2164080"/>
                <a:gd name="connsiteX7" fmla="*/ 30480 w 502920"/>
                <a:gd name="connsiteY7" fmla="*/ 2019300 h 2164080"/>
                <a:gd name="connsiteX8" fmla="*/ 30480 w 502920"/>
                <a:gd name="connsiteY8" fmla="*/ 1851660 h 2164080"/>
                <a:gd name="connsiteX9" fmla="*/ 0 w 502920"/>
                <a:gd name="connsiteY9" fmla="*/ 1463040 h 2164080"/>
                <a:gd name="connsiteX10" fmla="*/ 83820 w 502920"/>
                <a:gd name="connsiteY10" fmla="*/ 1074420 h 2164080"/>
                <a:gd name="connsiteX11" fmla="*/ 76200 w 502920"/>
                <a:gd name="connsiteY11" fmla="*/ 830580 h 2164080"/>
                <a:gd name="connsiteX12" fmla="*/ 152400 w 502920"/>
                <a:gd name="connsiteY12" fmla="*/ 510540 h 2164080"/>
                <a:gd name="connsiteX13" fmla="*/ 243840 w 502920"/>
                <a:gd name="connsiteY13" fmla="*/ 190500 h 2164080"/>
                <a:gd name="connsiteX14" fmla="*/ 312420 w 502920"/>
                <a:gd name="connsiteY14" fmla="*/ 0 h 2164080"/>
                <a:gd name="connsiteX15" fmla="*/ 365760 w 502920"/>
                <a:gd name="connsiteY15" fmla="*/ 358140 h 2164080"/>
                <a:gd name="connsiteX16" fmla="*/ 381000 w 502920"/>
                <a:gd name="connsiteY16" fmla="*/ 411480 h 2164080"/>
                <a:gd name="connsiteX17" fmla="*/ 449580 w 502920"/>
                <a:gd name="connsiteY17" fmla="*/ 220980 h 2164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2920" h="2164080">
                  <a:moveTo>
                    <a:pt x="449580" y="220980"/>
                  </a:moveTo>
                  <a:lnTo>
                    <a:pt x="502920" y="266700"/>
                  </a:lnTo>
                  <a:lnTo>
                    <a:pt x="388620" y="556260"/>
                  </a:lnTo>
                  <a:lnTo>
                    <a:pt x="320040" y="960120"/>
                  </a:lnTo>
                  <a:lnTo>
                    <a:pt x="259080" y="2042160"/>
                  </a:lnTo>
                  <a:lnTo>
                    <a:pt x="373380" y="2164080"/>
                  </a:lnTo>
                  <a:lnTo>
                    <a:pt x="190500" y="2164080"/>
                  </a:lnTo>
                  <a:lnTo>
                    <a:pt x="30480" y="2019300"/>
                  </a:lnTo>
                  <a:lnTo>
                    <a:pt x="30480" y="1851660"/>
                  </a:lnTo>
                  <a:lnTo>
                    <a:pt x="0" y="1463040"/>
                  </a:lnTo>
                  <a:lnTo>
                    <a:pt x="83820" y="1074420"/>
                  </a:lnTo>
                  <a:lnTo>
                    <a:pt x="76200" y="830580"/>
                  </a:lnTo>
                  <a:lnTo>
                    <a:pt x="152400" y="510540"/>
                  </a:lnTo>
                  <a:lnTo>
                    <a:pt x="243840" y="190500"/>
                  </a:lnTo>
                  <a:lnTo>
                    <a:pt x="312420" y="0"/>
                  </a:lnTo>
                  <a:lnTo>
                    <a:pt x="365760" y="358140"/>
                  </a:lnTo>
                  <a:lnTo>
                    <a:pt x="381000" y="411480"/>
                  </a:lnTo>
                  <a:lnTo>
                    <a:pt x="449580" y="2209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Freeform 9"/>
            <p:cNvSpPr/>
            <p:nvPr/>
          </p:nvSpPr>
          <p:spPr>
            <a:xfrm>
              <a:off x="3989232" y="3741717"/>
              <a:ext cx="191440" cy="196110"/>
            </a:xfrm>
            <a:custGeom>
              <a:avLst/>
              <a:gdLst>
                <a:gd name="connsiteX0" fmla="*/ 312420 w 312420"/>
                <a:gd name="connsiteY0" fmla="*/ 297180 h 320040"/>
                <a:gd name="connsiteX1" fmla="*/ 312420 w 312420"/>
                <a:gd name="connsiteY1" fmla="*/ 297180 h 320040"/>
                <a:gd name="connsiteX2" fmla="*/ 243840 w 312420"/>
                <a:gd name="connsiteY2" fmla="*/ 304800 h 320040"/>
                <a:gd name="connsiteX3" fmla="*/ 220980 w 312420"/>
                <a:gd name="connsiteY3" fmla="*/ 320040 h 320040"/>
                <a:gd name="connsiteX4" fmla="*/ 0 w 312420"/>
                <a:gd name="connsiteY4" fmla="*/ 0 h 320040"/>
                <a:gd name="connsiteX5" fmla="*/ 76200 w 312420"/>
                <a:gd name="connsiteY5" fmla="*/ 22860 h 320040"/>
                <a:gd name="connsiteX6" fmla="*/ 312420 w 312420"/>
                <a:gd name="connsiteY6" fmla="*/ 297180 h 32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420" h="320040">
                  <a:moveTo>
                    <a:pt x="312420" y="297180"/>
                  </a:moveTo>
                  <a:lnTo>
                    <a:pt x="312420" y="297180"/>
                  </a:lnTo>
                  <a:cubicBezTo>
                    <a:pt x="289560" y="299720"/>
                    <a:pt x="266154" y="299222"/>
                    <a:pt x="243840" y="304800"/>
                  </a:cubicBezTo>
                  <a:cubicBezTo>
                    <a:pt x="234955" y="307021"/>
                    <a:pt x="220980" y="320040"/>
                    <a:pt x="220980" y="320040"/>
                  </a:cubicBezTo>
                  <a:lnTo>
                    <a:pt x="0" y="0"/>
                  </a:lnTo>
                  <a:lnTo>
                    <a:pt x="76200" y="22860"/>
                  </a:lnTo>
                  <a:lnTo>
                    <a:pt x="312420" y="2971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4295060" y="3158058"/>
              <a:ext cx="88734" cy="200779"/>
            </a:xfrm>
            <a:custGeom>
              <a:avLst/>
              <a:gdLst>
                <a:gd name="connsiteX0" fmla="*/ 7649 w 144809"/>
                <a:gd name="connsiteY0" fmla="*/ 0 h 327660"/>
                <a:gd name="connsiteX1" fmla="*/ 7649 w 144809"/>
                <a:gd name="connsiteY1" fmla="*/ 0 h 327660"/>
                <a:gd name="connsiteX2" fmla="*/ 29 w 144809"/>
                <a:gd name="connsiteY2" fmla="*/ 251460 h 327660"/>
                <a:gd name="connsiteX3" fmla="*/ 7649 w 144809"/>
                <a:gd name="connsiteY3" fmla="*/ 320040 h 327660"/>
                <a:gd name="connsiteX4" fmla="*/ 30509 w 144809"/>
                <a:gd name="connsiteY4" fmla="*/ 327660 h 327660"/>
                <a:gd name="connsiteX5" fmla="*/ 144809 w 144809"/>
                <a:gd name="connsiteY5" fmla="*/ 91440 h 327660"/>
                <a:gd name="connsiteX6" fmla="*/ 7649 w 144809"/>
                <a:gd name="connsiteY6" fmla="*/ 0 h 327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809" h="327660">
                  <a:moveTo>
                    <a:pt x="7649" y="0"/>
                  </a:moveTo>
                  <a:lnTo>
                    <a:pt x="7649" y="0"/>
                  </a:lnTo>
                  <a:cubicBezTo>
                    <a:pt x="5109" y="83820"/>
                    <a:pt x="29" y="167602"/>
                    <a:pt x="29" y="251460"/>
                  </a:cubicBezTo>
                  <a:cubicBezTo>
                    <a:pt x="29" y="274461"/>
                    <a:pt x="-893" y="298684"/>
                    <a:pt x="7649" y="320040"/>
                  </a:cubicBezTo>
                  <a:cubicBezTo>
                    <a:pt x="10632" y="327498"/>
                    <a:pt x="30509" y="327660"/>
                    <a:pt x="30509" y="327660"/>
                  </a:cubicBezTo>
                  <a:lnTo>
                    <a:pt x="144809" y="91440"/>
                  </a:lnTo>
                  <a:lnTo>
                    <a:pt x="764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2973664" y="3263769"/>
              <a:ext cx="60701" cy="224125"/>
            </a:xfrm>
            <a:custGeom>
              <a:avLst/>
              <a:gdLst>
                <a:gd name="connsiteX0" fmla="*/ 83820 w 99060"/>
                <a:gd name="connsiteY0" fmla="*/ 0 h 365760"/>
                <a:gd name="connsiteX1" fmla="*/ 99060 w 99060"/>
                <a:gd name="connsiteY1" fmla="*/ 365760 h 365760"/>
                <a:gd name="connsiteX2" fmla="*/ 0 w 99060"/>
                <a:gd name="connsiteY2" fmla="*/ 220980 h 365760"/>
                <a:gd name="connsiteX3" fmla="*/ 38100 w 99060"/>
                <a:gd name="connsiteY3" fmla="*/ 144780 h 365760"/>
                <a:gd name="connsiteX4" fmla="*/ 83820 w 99060"/>
                <a:gd name="connsiteY4" fmla="*/ 0 h 365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060" h="365760">
                  <a:moveTo>
                    <a:pt x="83820" y="0"/>
                  </a:moveTo>
                  <a:lnTo>
                    <a:pt x="99060" y="365760"/>
                  </a:lnTo>
                  <a:lnTo>
                    <a:pt x="0" y="220980"/>
                  </a:lnTo>
                  <a:lnTo>
                    <a:pt x="38100" y="144780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2973664" y="3685686"/>
              <a:ext cx="182102" cy="172763"/>
            </a:xfrm>
            <a:custGeom>
              <a:avLst/>
              <a:gdLst>
                <a:gd name="connsiteX0" fmla="*/ 297180 w 297180"/>
                <a:gd name="connsiteY0" fmla="*/ 0 h 281940"/>
                <a:gd name="connsiteX1" fmla="*/ 152400 w 297180"/>
                <a:gd name="connsiteY1" fmla="*/ 68580 h 281940"/>
                <a:gd name="connsiteX2" fmla="*/ 68580 w 297180"/>
                <a:gd name="connsiteY2" fmla="*/ 198120 h 281940"/>
                <a:gd name="connsiteX3" fmla="*/ 45720 w 297180"/>
                <a:gd name="connsiteY3" fmla="*/ 281940 h 281940"/>
                <a:gd name="connsiteX4" fmla="*/ 0 w 297180"/>
                <a:gd name="connsiteY4" fmla="*/ 167640 h 281940"/>
                <a:gd name="connsiteX5" fmla="*/ 297180 w 297180"/>
                <a:gd name="connsiteY5" fmla="*/ 0 h 281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7180" h="281940">
                  <a:moveTo>
                    <a:pt x="297180" y="0"/>
                  </a:moveTo>
                  <a:lnTo>
                    <a:pt x="152400" y="68580"/>
                  </a:lnTo>
                  <a:lnTo>
                    <a:pt x="68580" y="198120"/>
                  </a:lnTo>
                  <a:lnTo>
                    <a:pt x="45720" y="281940"/>
                  </a:lnTo>
                  <a:lnTo>
                    <a:pt x="0" y="167640"/>
                  </a:lnTo>
                  <a:lnTo>
                    <a:pt x="29718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3" name="Rectangle 32"/>
          <p:cNvSpPr/>
          <p:nvPr/>
        </p:nvSpPr>
        <p:spPr>
          <a:xfrm>
            <a:off x="3007031" y="4433688"/>
            <a:ext cx="1066800" cy="4953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algn="ctr"/>
            <a:r>
              <a:rPr 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</a:t>
            </a:r>
            <a:r>
              <a:rPr lang="en-US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COUNTABLE</a:t>
            </a:r>
            <a:endParaRPr lang="en-US" sz="1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5455439" y="2176847"/>
            <a:ext cx="818311" cy="2194560"/>
            <a:chOff x="11215957" y="49011"/>
            <a:chExt cx="2235200" cy="5994400"/>
          </a:xfrm>
        </p:grpSpPr>
        <p:sp>
          <p:nvSpPr>
            <p:cNvPr id="21" name="Freeform 20"/>
            <p:cNvSpPr/>
            <p:nvPr/>
          </p:nvSpPr>
          <p:spPr>
            <a:xfrm>
              <a:off x="11215957" y="49011"/>
              <a:ext cx="2235200" cy="5994400"/>
            </a:xfrm>
            <a:custGeom>
              <a:avLst/>
              <a:gdLst>
                <a:gd name="connsiteX0" fmla="*/ 2120900 w 2235200"/>
                <a:gd name="connsiteY0" fmla="*/ 5994400 h 5994400"/>
                <a:gd name="connsiteX1" fmla="*/ 1955800 w 2235200"/>
                <a:gd name="connsiteY1" fmla="*/ 5981700 h 5994400"/>
                <a:gd name="connsiteX2" fmla="*/ 1701800 w 2235200"/>
                <a:gd name="connsiteY2" fmla="*/ 5791200 h 5994400"/>
                <a:gd name="connsiteX3" fmla="*/ 1638300 w 2235200"/>
                <a:gd name="connsiteY3" fmla="*/ 5778500 h 5994400"/>
                <a:gd name="connsiteX4" fmla="*/ 1511300 w 2235200"/>
                <a:gd name="connsiteY4" fmla="*/ 5689600 h 5994400"/>
                <a:gd name="connsiteX5" fmla="*/ 1473200 w 2235200"/>
                <a:gd name="connsiteY5" fmla="*/ 5626100 h 5994400"/>
                <a:gd name="connsiteX6" fmla="*/ 1473200 w 2235200"/>
                <a:gd name="connsiteY6" fmla="*/ 5511800 h 5994400"/>
                <a:gd name="connsiteX7" fmla="*/ 1435100 w 2235200"/>
                <a:gd name="connsiteY7" fmla="*/ 5384800 h 5994400"/>
                <a:gd name="connsiteX8" fmla="*/ 1435100 w 2235200"/>
                <a:gd name="connsiteY8" fmla="*/ 5232400 h 5994400"/>
                <a:gd name="connsiteX9" fmla="*/ 1308100 w 2235200"/>
                <a:gd name="connsiteY9" fmla="*/ 4813300 h 5994400"/>
                <a:gd name="connsiteX10" fmla="*/ 1320800 w 2235200"/>
                <a:gd name="connsiteY10" fmla="*/ 4546600 h 5994400"/>
                <a:gd name="connsiteX11" fmla="*/ 1092200 w 2235200"/>
                <a:gd name="connsiteY11" fmla="*/ 3683000 h 5994400"/>
                <a:gd name="connsiteX12" fmla="*/ 1003300 w 2235200"/>
                <a:gd name="connsiteY12" fmla="*/ 3860800 h 5994400"/>
                <a:gd name="connsiteX13" fmla="*/ 990600 w 2235200"/>
                <a:gd name="connsiteY13" fmla="*/ 4051300 h 5994400"/>
                <a:gd name="connsiteX14" fmla="*/ 838200 w 2235200"/>
                <a:gd name="connsiteY14" fmla="*/ 4660900 h 5994400"/>
                <a:gd name="connsiteX15" fmla="*/ 787400 w 2235200"/>
                <a:gd name="connsiteY15" fmla="*/ 5473700 h 5994400"/>
                <a:gd name="connsiteX16" fmla="*/ 711200 w 2235200"/>
                <a:gd name="connsiteY16" fmla="*/ 5511800 h 5994400"/>
                <a:gd name="connsiteX17" fmla="*/ 736600 w 2235200"/>
                <a:gd name="connsiteY17" fmla="*/ 5638800 h 5994400"/>
                <a:gd name="connsiteX18" fmla="*/ 571500 w 2235200"/>
                <a:gd name="connsiteY18" fmla="*/ 5778500 h 5994400"/>
                <a:gd name="connsiteX19" fmla="*/ 571500 w 2235200"/>
                <a:gd name="connsiteY19" fmla="*/ 5778500 h 5994400"/>
                <a:gd name="connsiteX20" fmla="*/ 457200 w 2235200"/>
                <a:gd name="connsiteY20" fmla="*/ 5816600 h 5994400"/>
                <a:gd name="connsiteX21" fmla="*/ 241300 w 2235200"/>
                <a:gd name="connsiteY21" fmla="*/ 5969000 h 5994400"/>
                <a:gd name="connsiteX22" fmla="*/ 50800 w 2235200"/>
                <a:gd name="connsiteY22" fmla="*/ 5956300 h 5994400"/>
                <a:gd name="connsiteX23" fmla="*/ 0 w 2235200"/>
                <a:gd name="connsiteY23" fmla="*/ 5842000 h 5994400"/>
                <a:gd name="connsiteX24" fmla="*/ 63500 w 2235200"/>
                <a:gd name="connsiteY24" fmla="*/ 5740400 h 5994400"/>
                <a:gd name="connsiteX25" fmla="*/ 139700 w 2235200"/>
                <a:gd name="connsiteY25" fmla="*/ 5613400 h 5994400"/>
                <a:gd name="connsiteX26" fmla="*/ 254000 w 2235200"/>
                <a:gd name="connsiteY26" fmla="*/ 5461000 h 5994400"/>
                <a:gd name="connsiteX27" fmla="*/ 254000 w 2235200"/>
                <a:gd name="connsiteY27" fmla="*/ 5321300 h 5994400"/>
                <a:gd name="connsiteX28" fmla="*/ 330200 w 2235200"/>
                <a:gd name="connsiteY28" fmla="*/ 5143500 h 5994400"/>
                <a:gd name="connsiteX29" fmla="*/ 330200 w 2235200"/>
                <a:gd name="connsiteY29" fmla="*/ 4584700 h 5994400"/>
                <a:gd name="connsiteX30" fmla="*/ 381000 w 2235200"/>
                <a:gd name="connsiteY30" fmla="*/ 4394200 h 5994400"/>
                <a:gd name="connsiteX31" fmla="*/ 342900 w 2235200"/>
                <a:gd name="connsiteY31" fmla="*/ 3492500 h 5994400"/>
                <a:gd name="connsiteX32" fmla="*/ 203200 w 2235200"/>
                <a:gd name="connsiteY32" fmla="*/ 3416300 h 5994400"/>
                <a:gd name="connsiteX33" fmla="*/ 304800 w 2235200"/>
                <a:gd name="connsiteY33" fmla="*/ 2578100 h 5994400"/>
                <a:gd name="connsiteX34" fmla="*/ 50800 w 2235200"/>
                <a:gd name="connsiteY34" fmla="*/ 2235200 h 5994400"/>
                <a:gd name="connsiteX35" fmla="*/ 76200 w 2235200"/>
                <a:gd name="connsiteY35" fmla="*/ 1892300 h 5994400"/>
                <a:gd name="connsiteX36" fmla="*/ 241300 w 2235200"/>
                <a:gd name="connsiteY36" fmla="*/ 1079500 h 5994400"/>
                <a:gd name="connsiteX37" fmla="*/ 800100 w 2235200"/>
                <a:gd name="connsiteY37" fmla="*/ 889000 h 5994400"/>
                <a:gd name="connsiteX38" fmla="*/ 850900 w 2235200"/>
                <a:gd name="connsiteY38" fmla="*/ 825500 h 5994400"/>
                <a:gd name="connsiteX39" fmla="*/ 825500 w 2235200"/>
                <a:gd name="connsiteY39" fmla="*/ 673100 h 5994400"/>
                <a:gd name="connsiteX40" fmla="*/ 787400 w 2235200"/>
                <a:gd name="connsiteY40" fmla="*/ 609600 h 5994400"/>
                <a:gd name="connsiteX41" fmla="*/ 736600 w 2235200"/>
                <a:gd name="connsiteY41" fmla="*/ 558800 h 5994400"/>
                <a:gd name="connsiteX42" fmla="*/ 774700 w 2235200"/>
                <a:gd name="connsiteY42" fmla="*/ 381000 h 5994400"/>
                <a:gd name="connsiteX43" fmla="*/ 800100 w 2235200"/>
                <a:gd name="connsiteY43" fmla="*/ 342900 h 5994400"/>
                <a:gd name="connsiteX44" fmla="*/ 825500 w 2235200"/>
                <a:gd name="connsiteY44" fmla="*/ 139700 h 5994400"/>
                <a:gd name="connsiteX45" fmla="*/ 939800 w 2235200"/>
                <a:gd name="connsiteY45" fmla="*/ 0 h 5994400"/>
                <a:gd name="connsiteX46" fmla="*/ 1206500 w 2235200"/>
                <a:gd name="connsiteY46" fmla="*/ 25400 h 5994400"/>
                <a:gd name="connsiteX47" fmla="*/ 1333500 w 2235200"/>
                <a:gd name="connsiteY47" fmla="*/ 101600 h 5994400"/>
                <a:gd name="connsiteX48" fmla="*/ 1409700 w 2235200"/>
                <a:gd name="connsiteY48" fmla="*/ 241300 h 5994400"/>
                <a:gd name="connsiteX49" fmla="*/ 1447800 w 2235200"/>
                <a:gd name="connsiteY49" fmla="*/ 533400 h 5994400"/>
                <a:gd name="connsiteX50" fmla="*/ 1447800 w 2235200"/>
                <a:gd name="connsiteY50" fmla="*/ 584200 h 5994400"/>
                <a:gd name="connsiteX51" fmla="*/ 1358900 w 2235200"/>
                <a:gd name="connsiteY51" fmla="*/ 685800 h 5994400"/>
                <a:gd name="connsiteX52" fmla="*/ 1295400 w 2235200"/>
                <a:gd name="connsiteY52" fmla="*/ 838200 h 5994400"/>
                <a:gd name="connsiteX53" fmla="*/ 1384300 w 2235200"/>
                <a:gd name="connsiteY53" fmla="*/ 889000 h 5994400"/>
                <a:gd name="connsiteX54" fmla="*/ 1879600 w 2235200"/>
                <a:gd name="connsiteY54" fmla="*/ 1041400 h 5994400"/>
                <a:gd name="connsiteX55" fmla="*/ 1943100 w 2235200"/>
                <a:gd name="connsiteY55" fmla="*/ 1130300 h 5994400"/>
                <a:gd name="connsiteX56" fmla="*/ 2070100 w 2235200"/>
                <a:gd name="connsiteY56" fmla="*/ 2133600 h 5994400"/>
                <a:gd name="connsiteX57" fmla="*/ 1828800 w 2235200"/>
                <a:gd name="connsiteY57" fmla="*/ 2514600 h 5994400"/>
                <a:gd name="connsiteX58" fmla="*/ 1943100 w 2235200"/>
                <a:gd name="connsiteY58" fmla="*/ 3048000 h 5994400"/>
                <a:gd name="connsiteX59" fmla="*/ 2006600 w 2235200"/>
                <a:gd name="connsiteY59" fmla="*/ 3251200 h 5994400"/>
                <a:gd name="connsiteX60" fmla="*/ 2095500 w 2235200"/>
                <a:gd name="connsiteY60" fmla="*/ 3340100 h 5994400"/>
                <a:gd name="connsiteX61" fmla="*/ 1841500 w 2235200"/>
                <a:gd name="connsiteY61" fmla="*/ 3492500 h 5994400"/>
                <a:gd name="connsiteX62" fmla="*/ 1879600 w 2235200"/>
                <a:gd name="connsiteY62" fmla="*/ 4025900 h 5994400"/>
                <a:gd name="connsiteX63" fmla="*/ 1841500 w 2235200"/>
                <a:gd name="connsiteY63" fmla="*/ 4483100 h 5994400"/>
                <a:gd name="connsiteX64" fmla="*/ 1930400 w 2235200"/>
                <a:gd name="connsiteY64" fmla="*/ 5321300 h 5994400"/>
                <a:gd name="connsiteX65" fmla="*/ 2019300 w 2235200"/>
                <a:gd name="connsiteY65" fmla="*/ 5562600 h 5994400"/>
                <a:gd name="connsiteX66" fmla="*/ 2209800 w 2235200"/>
                <a:gd name="connsiteY66" fmla="*/ 5842000 h 5994400"/>
                <a:gd name="connsiteX67" fmla="*/ 2235200 w 2235200"/>
                <a:gd name="connsiteY67" fmla="*/ 5930900 h 5994400"/>
                <a:gd name="connsiteX68" fmla="*/ 2120900 w 2235200"/>
                <a:gd name="connsiteY68" fmla="*/ 5994400 h 599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2235200" h="5994400">
                  <a:moveTo>
                    <a:pt x="2120900" y="5994400"/>
                  </a:moveTo>
                  <a:lnTo>
                    <a:pt x="1955800" y="5981700"/>
                  </a:lnTo>
                  <a:lnTo>
                    <a:pt x="1701800" y="5791200"/>
                  </a:lnTo>
                  <a:lnTo>
                    <a:pt x="1638300" y="5778500"/>
                  </a:lnTo>
                  <a:lnTo>
                    <a:pt x="1511300" y="5689600"/>
                  </a:lnTo>
                  <a:lnTo>
                    <a:pt x="1473200" y="5626100"/>
                  </a:lnTo>
                  <a:lnTo>
                    <a:pt x="1473200" y="5511800"/>
                  </a:lnTo>
                  <a:lnTo>
                    <a:pt x="1435100" y="5384800"/>
                  </a:lnTo>
                  <a:lnTo>
                    <a:pt x="1435100" y="5232400"/>
                  </a:lnTo>
                  <a:lnTo>
                    <a:pt x="1308100" y="4813300"/>
                  </a:lnTo>
                  <a:lnTo>
                    <a:pt x="1320800" y="4546600"/>
                  </a:lnTo>
                  <a:lnTo>
                    <a:pt x="1092200" y="3683000"/>
                  </a:lnTo>
                  <a:lnTo>
                    <a:pt x="1003300" y="3860800"/>
                  </a:lnTo>
                  <a:lnTo>
                    <a:pt x="990600" y="4051300"/>
                  </a:lnTo>
                  <a:lnTo>
                    <a:pt x="838200" y="4660900"/>
                  </a:lnTo>
                  <a:lnTo>
                    <a:pt x="787400" y="5473700"/>
                  </a:lnTo>
                  <a:lnTo>
                    <a:pt x="711200" y="5511800"/>
                  </a:lnTo>
                  <a:lnTo>
                    <a:pt x="736600" y="5638800"/>
                  </a:lnTo>
                  <a:lnTo>
                    <a:pt x="571500" y="5778500"/>
                  </a:lnTo>
                  <a:lnTo>
                    <a:pt x="571500" y="5778500"/>
                  </a:lnTo>
                  <a:lnTo>
                    <a:pt x="457200" y="5816600"/>
                  </a:lnTo>
                  <a:lnTo>
                    <a:pt x="241300" y="5969000"/>
                  </a:lnTo>
                  <a:lnTo>
                    <a:pt x="50800" y="5956300"/>
                  </a:lnTo>
                  <a:lnTo>
                    <a:pt x="0" y="5842000"/>
                  </a:lnTo>
                  <a:lnTo>
                    <a:pt x="63500" y="5740400"/>
                  </a:lnTo>
                  <a:lnTo>
                    <a:pt x="139700" y="5613400"/>
                  </a:lnTo>
                  <a:lnTo>
                    <a:pt x="254000" y="5461000"/>
                  </a:lnTo>
                  <a:lnTo>
                    <a:pt x="254000" y="5321300"/>
                  </a:lnTo>
                  <a:lnTo>
                    <a:pt x="330200" y="5143500"/>
                  </a:lnTo>
                  <a:lnTo>
                    <a:pt x="330200" y="4584700"/>
                  </a:lnTo>
                  <a:lnTo>
                    <a:pt x="381000" y="4394200"/>
                  </a:lnTo>
                  <a:lnTo>
                    <a:pt x="342900" y="3492500"/>
                  </a:lnTo>
                  <a:lnTo>
                    <a:pt x="203200" y="3416300"/>
                  </a:lnTo>
                  <a:lnTo>
                    <a:pt x="304800" y="2578100"/>
                  </a:lnTo>
                  <a:lnTo>
                    <a:pt x="50800" y="2235200"/>
                  </a:lnTo>
                  <a:lnTo>
                    <a:pt x="76200" y="1892300"/>
                  </a:lnTo>
                  <a:lnTo>
                    <a:pt x="241300" y="1079500"/>
                  </a:lnTo>
                  <a:lnTo>
                    <a:pt x="800100" y="889000"/>
                  </a:lnTo>
                  <a:lnTo>
                    <a:pt x="850900" y="825500"/>
                  </a:lnTo>
                  <a:lnTo>
                    <a:pt x="825500" y="673100"/>
                  </a:lnTo>
                  <a:lnTo>
                    <a:pt x="787400" y="609600"/>
                  </a:lnTo>
                  <a:lnTo>
                    <a:pt x="736600" y="558800"/>
                  </a:lnTo>
                  <a:lnTo>
                    <a:pt x="774700" y="381000"/>
                  </a:lnTo>
                  <a:lnTo>
                    <a:pt x="800100" y="342900"/>
                  </a:lnTo>
                  <a:lnTo>
                    <a:pt x="825500" y="139700"/>
                  </a:lnTo>
                  <a:lnTo>
                    <a:pt x="939800" y="0"/>
                  </a:lnTo>
                  <a:lnTo>
                    <a:pt x="1206500" y="25400"/>
                  </a:lnTo>
                  <a:lnTo>
                    <a:pt x="1333500" y="101600"/>
                  </a:lnTo>
                  <a:lnTo>
                    <a:pt x="1409700" y="241300"/>
                  </a:lnTo>
                  <a:lnTo>
                    <a:pt x="1447800" y="533400"/>
                  </a:lnTo>
                  <a:lnTo>
                    <a:pt x="1447800" y="584200"/>
                  </a:lnTo>
                  <a:lnTo>
                    <a:pt x="1358900" y="685800"/>
                  </a:lnTo>
                  <a:lnTo>
                    <a:pt x="1295400" y="838200"/>
                  </a:lnTo>
                  <a:lnTo>
                    <a:pt x="1384300" y="889000"/>
                  </a:lnTo>
                  <a:lnTo>
                    <a:pt x="1879600" y="1041400"/>
                  </a:lnTo>
                  <a:lnTo>
                    <a:pt x="1943100" y="1130300"/>
                  </a:lnTo>
                  <a:lnTo>
                    <a:pt x="2070100" y="2133600"/>
                  </a:lnTo>
                  <a:lnTo>
                    <a:pt x="1828800" y="2514600"/>
                  </a:lnTo>
                  <a:lnTo>
                    <a:pt x="1943100" y="3048000"/>
                  </a:lnTo>
                  <a:lnTo>
                    <a:pt x="2006600" y="3251200"/>
                  </a:lnTo>
                  <a:lnTo>
                    <a:pt x="2095500" y="3340100"/>
                  </a:lnTo>
                  <a:lnTo>
                    <a:pt x="1841500" y="3492500"/>
                  </a:lnTo>
                  <a:lnTo>
                    <a:pt x="1879600" y="4025900"/>
                  </a:lnTo>
                  <a:lnTo>
                    <a:pt x="1841500" y="4483100"/>
                  </a:lnTo>
                  <a:lnTo>
                    <a:pt x="1930400" y="5321300"/>
                  </a:lnTo>
                  <a:lnTo>
                    <a:pt x="2019300" y="5562600"/>
                  </a:lnTo>
                  <a:lnTo>
                    <a:pt x="2209800" y="5842000"/>
                  </a:lnTo>
                  <a:lnTo>
                    <a:pt x="2235200" y="5930900"/>
                  </a:lnTo>
                  <a:lnTo>
                    <a:pt x="2120900" y="5994400"/>
                  </a:ln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11838722" y="872267"/>
              <a:ext cx="940088" cy="2199344"/>
              <a:chOff x="11838722" y="872267"/>
              <a:chExt cx="940088" cy="2199344"/>
            </a:xfrm>
          </p:grpSpPr>
          <p:sp>
            <p:nvSpPr>
              <p:cNvPr id="23" name="Freeform 22"/>
              <p:cNvSpPr/>
              <p:nvPr/>
            </p:nvSpPr>
            <p:spPr>
              <a:xfrm>
                <a:off x="12059919" y="872267"/>
                <a:ext cx="160368" cy="524441"/>
              </a:xfrm>
              <a:custGeom>
                <a:avLst/>
                <a:gdLst>
                  <a:gd name="connsiteX0" fmla="*/ 38100 w 220980"/>
                  <a:gd name="connsiteY0" fmla="*/ 0 h 556260"/>
                  <a:gd name="connsiteX1" fmla="*/ 0 w 220980"/>
                  <a:gd name="connsiteY1" fmla="*/ 53340 h 556260"/>
                  <a:gd name="connsiteX2" fmla="*/ 0 w 220980"/>
                  <a:gd name="connsiteY2" fmla="*/ 167640 h 556260"/>
                  <a:gd name="connsiteX3" fmla="*/ 15240 w 220980"/>
                  <a:gd name="connsiteY3" fmla="*/ 281940 h 556260"/>
                  <a:gd name="connsiteX4" fmla="*/ 68580 w 220980"/>
                  <a:gd name="connsiteY4" fmla="*/ 556260 h 556260"/>
                  <a:gd name="connsiteX5" fmla="*/ 152400 w 220980"/>
                  <a:gd name="connsiteY5" fmla="*/ 373380 h 556260"/>
                  <a:gd name="connsiteX6" fmla="*/ 175260 w 220980"/>
                  <a:gd name="connsiteY6" fmla="*/ 304800 h 556260"/>
                  <a:gd name="connsiteX7" fmla="*/ 220980 w 220980"/>
                  <a:gd name="connsiteY7" fmla="*/ 281940 h 556260"/>
                  <a:gd name="connsiteX8" fmla="*/ 182880 w 220980"/>
                  <a:gd name="connsiteY8" fmla="*/ 251460 h 556260"/>
                  <a:gd name="connsiteX9" fmla="*/ 83820 w 220980"/>
                  <a:gd name="connsiteY9" fmla="*/ 167640 h 556260"/>
                  <a:gd name="connsiteX10" fmla="*/ 53340 w 220980"/>
                  <a:gd name="connsiteY10" fmla="*/ 99060 h 556260"/>
                  <a:gd name="connsiteX11" fmla="*/ 38100 w 220980"/>
                  <a:gd name="connsiteY11" fmla="*/ 0 h 556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0980" h="556260">
                    <a:moveTo>
                      <a:pt x="38100" y="0"/>
                    </a:moveTo>
                    <a:lnTo>
                      <a:pt x="0" y="53340"/>
                    </a:lnTo>
                    <a:lnTo>
                      <a:pt x="0" y="167640"/>
                    </a:lnTo>
                    <a:lnTo>
                      <a:pt x="15240" y="281940"/>
                    </a:lnTo>
                    <a:lnTo>
                      <a:pt x="68580" y="556260"/>
                    </a:lnTo>
                    <a:lnTo>
                      <a:pt x="152400" y="373380"/>
                    </a:lnTo>
                    <a:lnTo>
                      <a:pt x="175260" y="304800"/>
                    </a:lnTo>
                    <a:lnTo>
                      <a:pt x="220980" y="281940"/>
                    </a:lnTo>
                    <a:lnTo>
                      <a:pt x="182880" y="251460"/>
                    </a:lnTo>
                    <a:lnTo>
                      <a:pt x="83820" y="167640"/>
                    </a:lnTo>
                    <a:lnTo>
                      <a:pt x="53340" y="99060"/>
                    </a:lnTo>
                    <a:lnTo>
                      <a:pt x="3810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Freeform 23"/>
              <p:cNvSpPr/>
              <p:nvPr/>
            </p:nvSpPr>
            <p:spPr>
              <a:xfrm>
                <a:off x="12270057" y="926148"/>
                <a:ext cx="221197" cy="431047"/>
              </a:xfrm>
              <a:custGeom>
                <a:avLst/>
                <a:gdLst>
                  <a:gd name="connsiteX0" fmla="*/ 289560 w 304800"/>
                  <a:gd name="connsiteY0" fmla="*/ 0 h 457200"/>
                  <a:gd name="connsiteX1" fmla="*/ 236220 w 304800"/>
                  <a:gd name="connsiteY1" fmla="*/ 53340 h 457200"/>
                  <a:gd name="connsiteX2" fmla="*/ 152400 w 304800"/>
                  <a:gd name="connsiteY2" fmla="*/ 129540 h 457200"/>
                  <a:gd name="connsiteX3" fmla="*/ 91440 w 304800"/>
                  <a:gd name="connsiteY3" fmla="*/ 137160 h 457200"/>
                  <a:gd name="connsiteX4" fmla="*/ 0 w 304800"/>
                  <a:gd name="connsiteY4" fmla="*/ 213360 h 457200"/>
                  <a:gd name="connsiteX5" fmla="*/ 190500 w 304800"/>
                  <a:gd name="connsiteY5" fmla="*/ 457200 h 457200"/>
                  <a:gd name="connsiteX6" fmla="*/ 274320 w 304800"/>
                  <a:gd name="connsiteY6" fmla="*/ 251460 h 457200"/>
                  <a:gd name="connsiteX7" fmla="*/ 304800 w 304800"/>
                  <a:gd name="connsiteY7" fmla="*/ 137160 h 457200"/>
                  <a:gd name="connsiteX8" fmla="*/ 289560 w 304800"/>
                  <a:gd name="connsiteY8" fmla="*/ 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4800" h="457200">
                    <a:moveTo>
                      <a:pt x="289560" y="0"/>
                    </a:moveTo>
                    <a:lnTo>
                      <a:pt x="236220" y="53340"/>
                    </a:lnTo>
                    <a:lnTo>
                      <a:pt x="152400" y="129540"/>
                    </a:lnTo>
                    <a:lnTo>
                      <a:pt x="91440" y="137160"/>
                    </a:lnTo>
                    <a:lnTo>
                      <a:pt x="0" y="213360"/>
                    </a:lnTo>
                    <a:lnTo>
                      <a:pt x="190500" y="457200"/>
                    </a:lnTo>
                    <a:lnTo>
                      <a:pt x="274320" y="251460"/>
                    </a:lnTo>
                    <a:lnTo>
                      <a:pt x="304800" y="137160"/>
                    </a:lnTo>
                    <a:lnTo>
                      <a:pt x="28956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Freeform 24"/>
              <p:cNvSpPr/>
              <p:nvPr/>
            </p:nvSpPr>
            <p:spPr>
              <a:xfrm>
                <a:off x="12236877" y="1167819"/>
                <a:ext cx="541933" cy="1875055"/>
              </a:xfrm>
              <a:custGeom>
                <a:avLst/>
                <a:gdLst>
                  <a:gd name="connsiteX0" fmla="*/ 746760 w 746760"/>
                  <a:gd name="connsiteY0" fmla="*/ 1653540 h 1988820"/>
                  <a:gd name="connsiteX1" fmla="*/ 601980 w 746760"/>
                  <a:gd name="connsiteY1" fmla="*/ 1744980 h 1988820"/>
                  <a:gd name="connsiteX2" fmla="*/ 449580 w 746760"/>
                  <a:gd name="connsiteY2" fmla="*/ 1767840 h 1988820"/>
                  <a:gd name="connsiteX3" fmla="*/ 373380 w 746760"/>
                  <a:gd name="connsiteY3" fmla="*/ 1790700 h 1988820"/>
                  <a:gd name="connsiteX4" fmla="*/ 304800 w 746760"/>
                  <a:gd name="connsiteY4" fmla="*/ 1859280 h 1988820"/>
                  <a:gd name="connsiteX5" fmla="*/ 190500 w 746760"/>
                  <a:gd name="connsiteY5" fmla="*/ 1920240 h 1988820"/>
                  <a:gd name="connsiteX6" fmla="*/ 144780 w 746760"/>
                  <a:gd name="connsiteY6" fmla="*/ 1943100 h 1988820"/>
                  <a:gd name="connsiteX7" fmla="*/ 144780 w 746760"/>
                  <a:gd name="connsiteY7" fmla="*/ 1988820 h 1988820"/>
                  <a:gd name="connsiteX8" fmla="*/ 0 w 746760"/>
                  <a:gd name="connsiteY8" fmla="*/ 1965960 h 1988820"/>
                  <a:gd name="connsiteX9" fmla="*/ 144780 w 746760"/>
                  <a:gd name="connsiteY9" fmla="*/ 1874520 h 1988820"/>
                  <a:gd name="connsiteX10" fmla="*/ 160020 w 746760"/>
                  <a:gd name="connsiteY10" fmla="*/ 510540 h 1988820"/>
                  <a:gd name="connsiteX11" fmla="*/ 129540 w 746760"/>
                  <a:gd name="connsiteY11" fmla="*/ 281940 h 1988820"/>
                  <a:gd name="connsiteX12" fmla="*/ 68580 w 746760"/>
                  <a:gd name="connsiteY12" fmla="*/ 106680 h 1988820"/>
                  <a:gd name="connsiteX13" fmla="*/ 121920 w 746760"/>
                  <a:gd name="connsiteY13" fmla="*/ 45720 h 1988820"/>
                  <a:gd name="connsiteX14" fmla="*/ 243840 w 746760"/>
                  <a:gd name="connsiteY14" fmla="*/ 190500 h 1988820"/>
                  <a:gd name="connsiteX15" fmla="*/ 327660 w 746760"/>
                  <a:gd name="connsiteY15" fmla="*/ 0 h 1988820"/>
                  <a:gd name="connsiteX16" fmla="*/ 297180 w 746760"/>
                  <a:gd name="connsiteY16" fmla="*/ 762000 h 1988820"/>
                  <a:gd name="connsiteX17" fmla="*/ 350520 w 746760"/>
                  <a:gd name="connsiteY17" fmla="*/ 1089660 h 1988820"/>
                  <a:gd name="connsiteX18" fmla="*/ 457200 w 746760"/>
                  <a:gd name="connsiteY18" fmla="*/ 1295400 h 1988820"/>
                  <a:gd name="connsiteX19" fmla="*/ 647700 w 746760"/>
                  <a:gd name="connsiteY19" fmla="*/ 1470660 h 1988820"/>
                  <a:gd name="connsiteX20" fmla="*/ 662940 w 746760"/>
                  <a:gd name="connsiteY20" fmla="*/ 1562100 h 1988820"/>
                  <a:gd name="connsiteX21" fmla="*/ 746760 w 746760"/>
                  <a:gd name="connsiteY21" fmla="*/ 1653540 h 1988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46760" h="1988820">
                    <a:moveTo>
                      <a:pt x="746760" y="1653540"/>
                    </a:moveTo>
                    <a:lnTo>
                      <a:pt x="601980" y="1744980"/>
                    </a:lnTo>
                    <a:lnTo>
                      <a:pt x="449580" y="1767840"/>
                    </a:lnTo>
                    <a:lnTo>
                      <a:pt x="373380" y="1790700"/>
                    </a:lnTo>
                    <a:lnTo>
                      <a:pt x="304800" y="1859280"/>
                    </a:lnTo>
                    <a:lnTo>
                      <a:pt x="190500" y="1920240"/>
                    </a:lnTo>
                    <a:lnTo>
                      <a:pt x="144780" y="1943100"/>
                    </a:lnTo>
                    <a:lnTo>
                      <a:pt x="144780" y="1988820"/>
                    </a:lnTo>
                    <a:lnTo>
                      <a:pt x="0" y="1965960"/>
                    </a:lnTo>
                    <a:lnTo>
                      <a:pt x="144780" y="1874520"/>
                    </a:lnTo>
                    <a:lnTo>
                      <a:pt x="160020" y="510540"/>
                    </a:lnTo>
                    <a:lnTo>
                      <a:pt x="129540" y="281940"/>
                    </a:lnTo>
                    <a:lnTo>
                      <a:pt x="68580" y="106680"/>
                    </a:lnTo>
                    <a:lnTo>
                      <a:pt x="121920" y="45720"/>
                    </a:lnTo>
                    <a:lnTo>
                      <a:pt x="243840" y="190500"/>
                    </a:lnTo>
                    <a:lnTo>
                      <a:pt x="327660" y="0"/>
                    </a:lnTo>
                    <a:lnTo>
                      <a:pt x="297180" y="762000"/>
                    </a:lnTo>
                    <a:lnTo>
                      <a:pt x="350520" y="1089660"/>
                    </a:lnTo>
                    <a:lnTo>
                      <a:pt x="457200" y="1295400"/>
                    </a:lnTo>
                    <a:lnTo>
                      <a:pt x="647700" y="1470660"/>
                    </a:lnTo>
                    <a:lnTo>
                      <a:pt x="662940" y="1562100"/>
                    </a:lnTo>
                    <a:lnTo>
                      <a:pt x="746760" y="16535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Freeform 25"/>
              <p:cNvSpPr/>
              <p:nvPr/>
            </p:nvSpPr>
            <p:spPr>
              <a:xfrm>
                <a:off x="11838722" y="1031321"/>
                <a:ext cx="364976" cy="2040290"/>
              </a:xfrm>
              <a:custGeom>
                <a:avLst/>
                <a:gdLst>
                  <a:gd name="connsiteX0" fmla="*/ 449580 w 502920"/>
                  <a:gd name="connsiteY0" fmla="*/ 220980 h 2164080"/>
                  <a:gd name="connsiteX1" fmla="*/ 502920 w 502920"/>
                  <a:gd name="connsiteY1" fmla="*/ 266700 h 2164080"/>
                  <a:gd name="connsiteX2" fmla="*/ 388620 w 502920"/>
                  <a:gd name="connsiteY2" fmla="*/ 556260 h 2164080"/>
                  <a:gd name="connsiteX3" fmla="*/ 320040 w 502920"/>
                  <a:gd name="connsiteY3" fmla="*/ 960120 h 2164080"/>
                  <a:gd name="connsiteX4" fmla="*/ 259080 w 502920"/>
                  <a:gd name="connsiteY4" fmla="*/ 2042160 h 2164080"/>
                  <a:gd name="connsiteX5" fmla="*/ 373380 w 502920"/>
                  <a:gd name="connsiteY5" fmla="*/ 2164080 h 2164080"/>
                  <a:gd name="connsiteX6" fmla="*/ 190500 w 502920"/>
                  <a:gd name="connsiteY6" fmla="*/ 2164080 h 2164080"/>
                  <a:gd name="connsiteX7" fmla="*/ 30480 w 502920"/>
                  <a:gd name="connsiteY7" fmla="*/ 2019300 h 2164080"/>
                  <a:gd name="connsiteX8" fmla="*/ 30480 w 502920"/>
                  <a:gd name="connsiteY8" fmla="*/ 1851660 h 2164080"/>
                  <a:gd name="connsiteX9" fmla="*/ 0 w 502920"/>
                  <a:gd name="connsiteY9" fmla="*/ 1463040 h 2164080"/>
                  <a:gd name="connsiteX10" fmla="*/ 83820 w 502920"/>
                  <a:gd name="connsiteY10" fmla="*/ 1074420 h 2164080"/>
                  <a:gd name="connsiteX11" fmla="*/ 76200 w 502920"/>
                  <a:gd name="connsiteY11" fmla="*/ 830580 h 2164080"/>
                  <a:gd name="connsiteX12" fmla="*/ 152400 w 502920"/>
                  <a:gd name="connsiteY12" fmla="*/ 510540 h 2164080"/>
                  <a:gd name="connsiteX13" fmla="*/ 243840 w 502920"/>
                  <a:gd name="connsiteY13" fmla="*/ 190500 h 2164080"/>
                  <a:gd name="connsiteX14" fmla="*/ 312420 w 502920"/>
                  <a:gd name="connsiteY14" fmla="*/ 0 h 2164080"/>
                  <a:gd name="connsiteX15" fmla="*/ 365760 w 502920"/>
                  <a:gd name="connsiteY15" fmla="*/ 358140 h 2164080"/>
                  <a:gd name="connsiteX16" fmla="*/ 381000 w 502920"/>
                  <a:gd name="connsiteY16" fmla="*/ 411480 h 2164080"/>
                  <a:gd name="connsiteX17" fmla="*/ 449580 w 502920"/>
                  <a:gd name="connsiteY17" fmla="*/ 220980 h 2164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02920" h="2164080">
                    <a:moveTo>
                      <a:pt x="449580" y="220980"/>
                    </a:moveTo>
                    <a:lnTo>
                      <a:pt x="502920" y="266700"/>
                    </a:lnTo>
                    <a:lnTo>
                      <a:pt x="388620" y="556260"/>
                    </a:lnTo>
                    <a:lnTo>
                      <a:pt x="320040" y="960120"/>
                    </a:lnTo>
                    <a:lnTo>
                      <a:pt x="259080" y="2042160"/>
                    </a:lnTo>
                    <a:lnTo>
                      <a:pt x="373380" y="2164080"/>
                    </a:lnTo>
                    <a:lnTo>
                      <a:pt x="190500" y="2164080"/>
                    </a:lnTo>
                    <a:lnTo>
                      <a:pt x="30480" y="2019300"/>
                    </a:lnTo>
                    <a:lnTo>
                      <a:pt x="30480" y="1851660"/>
                    </a:lnTo>
                    <a:lnTo>
                      <a:pt x="0" y="1463040"/>
                    </a:lnTo>
                    <a:lnTo>
                      <a:pt x="83820" y="1074420"/>
                    </a:lnTo>
                    <a:lnTo>
                      <a:pt x="76200" y="830580"/>
                    </a:lnTo>
                    <a:lnTo>
                      <a:pt x="152400" y="510540"/>
                    </a:lnTo>
                    <a:lnTo>
                      <a:pt x="243840" y="190500"/>
                    </a:lnTo>
                    <a:lnTo>
                      <a:pt x="312420" y="0"/>
                    </a:lnTo>
                    <a:lnTo>
                      <a:pt x="365760" y="358140"/>
                    </a:lnTo>
                    <a:lnTo>
                      <a:pt x="381000" y="411480"/>
                    </a:lnTo>
                    <a:lnTo>
                      <a:pt x="449580" y="22098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5" name="Rectangle 34"/>
          <p:cNvSpPr/>
          <p:nvPr/>
        </p:nvSpPr>
        <p:spPr>
          <a:xfrm>
            <a:off x="4934127" y="4433688"/>
            <a:ext cx="1066800" cy="4953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algn="ctr"/>
            <a:r>
              <a:rPr 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</a:t>
            </a:r>
            <a:r>
              <a:rPr lang="en-US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ONSULTED</a:t>
            </a:r>
            <a:endParaRPr lang="en-US" sz="1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27" name="Group 26"/>
          <p:cNvGrpSpPr>
            <a:grpSpLocks noChangeAspect="1"/>
          </p:cNvGrpSpPr>
          <p:nvPr/>
        </p:nvGrpSpPr>
        <p:grpSpPr>
          <a:xfrm>
            <a:off x="7071352" y="2176847"/>
            <a:ext cx="1514650" cy="2194560"/>
            <a:chOff x="4171950" y="821395"/>
            <a:chExt cx="2857500" cy="4140199"/>
          </a:xfrm>
        </p:grpSpPr>
        <p:sp>
          <p:nvSpPr>
            <p:cNvPr id="28" name="Freeform 27"/>
            <p:cNvSpPr/>
            <p:nvPr/>
          </p:nvSpPr>
          <p:spPr>
            <a:xfrm>
              <a:off x="4171950" y="821395"/>
              <a:ext cx="2857500" cy="4140199"/>
            </a:xfrm>
            <a:custGeom>
              <a:avLst/>
              <a:gdLst>
                <a:gd name="connsiteX0" fmla="*/ 2628900 w 2857500"/>
                <a:gd name="connsiteY0" fmla="*/ 4089400 h 4140200"/>
                <a:gd name="connsiteX1" fmla="*/ 2590800 w 2857500"/>
                <a:gd name="connsiteY1" fmla="*/ 4038600 h 4140200"/>
                <a:gd name="connsiteX2" fmla="*/ 2501900 w 2857500"/>
                <a:gd name="connsiteY2" fmla="*/ 3771900 h 4140200"/>
                <a:gd name="connsiteX3" fmla="*/ 2616200 w 2857500"/>
                <a:gd name="connsiteY3" fmla="*/ 3263900 h 4140200"/>
                <a:gd name="connsiteX4" fmla="*/ 2857500 w 2857500"/>
                <a:gd name="connsiteY4" fmla="*/ 2755900 h 4140200"/>
                <a:gd name="connsiteX5" fmla="*/ 2857500 w 2857500"/>
                <a:gd name="connsiteY5" fmla="*/ 2552700 h 4140200"/>
                <a:gd name="connsiteX6" fmla="*/ 2857500 w 2857500"/>
                <a:gd name="connsiteY6" fmla="*/ 2159000 h 4140200"/>
                <a:gd name="connsiteX7" fmla="*/ 2768600 w 2857500"/>
                <a:gd name="connsiteY7" fmla="*/ 1841500 h 4140200"/>
                <a:gd name="connsiteX8" fmla="*/ 2667000 w 2857500"/>
                <a:gd name="connsiteY8" fmla="*/ 1765300 h 4140200"/>
                <a:gd name="connsiteX9" fmla="*/ 2501900 w 2857500"/>
                <a:gd name="connsiteY9" fmla="*/ 1663700 h 4140200"/>
                <a:gd name="connsiteX10" fmla="*/ 2209800 w 2857500"/>
                <a:gd name="connsiteY10" fmla="*/ 1511300 h 4140200"/>
                <a:gd name="connsiteX11" fmla="*/ 2057400 w 2857500"/>
                <a:gd name="connsiteY11" fmla="*/ 1257300 h 4140200"/>
                <a:gd name="connsiteX12" fmla="*/ 2070100 w 2857500"/>
                <a:gd name="connsiteY12" fmla="*/ 1041400 h 4140200"/>
                <a:gd name="connsiteX13" fmla="*/ 2146300 w 2857500"/>
                <a:gd name="connsiteY13" fmla="*/ 1054100 h 4140200"/>
                <a:gd name="connsiteX14" fmla="*/ 2197100 w 2857500"/>
                <a:gd name="connsiteY14" fmla="*/ 1041400 h 4140200"/>
                <a:gd name="connsiteX15" fmla="*/ 2197100 w 2857500"/>
                <a:gd name="connsiteY15" fmla="*/ 736600 h 4140200"/>
                <a:gd name="connsiteX16" fmla="*/ 2159000 w 2857500"/>
                <a:gd name="connsiteY16" fmla="*/ 723900 h 4140200"/>
                <a:gd name="connsiteX17" fmla="*/ 2171700 w 2857500"/>
                <a:gd name="connsiteY17" fmla="*/ 431800 h 4140200"/>
                <a:gd name="connsiteX18" fmla="*/ 2082800 w 2857500"/>
                <a:gd name="connsiteY18" fmla="*/ 215900 h 4140200"/>
                <a:gd name="connsiteX19" fmla="*/ 1968500 w 2857500"/>
                <a:gd name="connsiteY19" fmla="*/ 88900 h 4140200"/>
                <a:gd name="connsiteX20" fmla="*/ 1638300 w 2857500"/>
                <a:gd name="connsiteY20" fmla="*/ 0 h 4140200"/>
                <a:gd name="connsiteX21" fmla="*/ 1358900 w 2857500"/>
                <a:gd name="connsiteY21" fmla="*/ 127000 h 4140200"/>
                <a:gd name="connsiteX22" fmla="*/ 1282700 w 2857500"/>
                <a:gd name="connsiteY22" fmla="*/ 266700 h 4140200"/>
                <a:gd name="connsiteX23" fmla="*/ 1219200 w 2857500"/>
                <a:gd name="connsiteY23" fmla="*/ 457200 h 4140200"/>
                <a:gd name="connsiteX24" fmla="*/ 1244600 w 2857500"/>
                <a:gd name="connsiteY24" fmla="*/ 685800 h 4140200"/>
                <a:gd name="connsiteX25" fmla="*/ 1244600 w 2857500"/>
                <a:gd name="connsiteY25" fmla="*/ 838200 h 4140200"/>
                <a:gd name="connsiteX26" fmla="*/ 1270000 w 2857500"/>
                <a:gd name="connsiteY26" fmla="*/ 1117600 h 4140200"/>
                <a:gd name="connsiteX27" fmla="*/ 1270000 w 2857500"/>
                <a:gd name="connsiteY27" fmla="*/ 1117600 h 4140200"/>
                <a:gd name="connsiteX28" fmla="*/ 1397000 w 2857500"/>
                <a:gd name="connsiteY28" fmla="*/ 1270000 h 4140200"/>
                <a:gd name="connsiteX29" fmla="*/ 1397000 w 2857500"/>
                <a:gd name="connsiteY29" fmla="*/ 1485900 h 4140200"/>
                <a:gd name="connsiteX30" fmla="*/ 1384300 w 2857500"/>
                <a:gd name="connsiteY30" fmla="*/ 1524000 h 4140200"/>
                <a:gd name="connsiteX31" fmla="*/ 762000 w 2857500"/>
                <a:gd name="connsiteY31" fmla="*/ 1701800 h 4140200"/>
                <a:gd name="connsiteX32" fmla="*/ 635000 w 2857500"/>
                <a:gd name="connsiteY32" fmla="*/ 1778000 h 4140200"/>
                <a:gd name="connsiteX33" fmla="*/ 622300 w 2857500"/>
                <a:gd name="connsiteY33" fmla="*/ 1955800 h 4140200"/>
                <a:gd name="connsiteX34" fmla="*/ 584200 w 2857500"/>
                <a:gd name="connsiteY34" fmla="*/ 1968500 h 4140200"/>
                <a:gd name="connsiteX35" fmla="*/ 584200 w 2857500"/>
                <a:gd name="connsiteY35" fmla="*/ 2057400 h 4140200"/>
                <a:gd name="connsiteX36" fmla="*/ 558800 w 2857500"/>
                <a:gd name="connsiteY36" fmla="*/ 2120900 h 4140200"/>
                <a:gd name="connsiteX37" fmla="*/ 431800 w 2857500"/>
                <a:gd name="connsiteY37" fmla="*/ 2374900 h 4140200"/>
                <a:gd name="connsiteX38" fmla="*/ 381000 w 2857500"/>
                <a:gd name="connsiteY38" fmla="*/ 2527300 h 4140200"/>
                <a:gd name="connsiteX39" fmla="*/ 190500 w 2857500"/>
                <a:gd name="connsiteY39" fmla="*/ 2768600 h 4140200"/>
                <a:gd name="connsiteX40" fmla="*/ 127000 w 2857500"/>
                <a:gd name="connsiteY40" fmla="*/ 2832100 h 4140200"/>
                <a:gd name="connsiteX41" fmla="*/ 76200 w 2857500"/>
                <a:gd name="connsiteY41" fmla="*/ 2933700 h 4140200"/>
                <a:gd name="connsiteX42" fmla="*/ 12700 w 2857500"/>
                <a:gd name="connsiteY42" fmla="*/ 3022600 h 4140200"/>
                <a:gd name="connsiteX43" fmla="*/ 0 w 2857500"/>
                <a:gd name="connsiteY43" fmla="*/ 3289300 h 4140200"/>
                <a:gd name="connsiteX44" fmla="*/ 25400 w 2857500"/>
                <a:gd name="connsiteY44" fmla="*/ 3556000 h 4140200"/>
                <a:gd name="connsiteX45" fmla="*/ 330200 w 2857500"/>
                <a:gd name="connsiteY45" fmla="*/ 3644900 h 4140200"/>
                <a:gd name="connsiteX46" fmla="*/ 571500 w 2857500"/>
                <a:gd name="connsiteY46" fmla="*/ 3670300 h 4140200"/>
                <a:gd name="connsiteX47" fmla="*/ 584200 w 2857500"/>
                <a:gd name="connsiteY47" fmla="*/ 3759200 h 4140200"/>
                <a:gd name="connsiteX48" fmla="*/ 520700 w 2857500"/>
                <a:gd name="connsiteY48" fmla="*/ 4140200 h 4140200"/>
                <a:gd name="connsiteX49" fmla="*/ 2628900 w 2857500"/>
                <a:gd name="connsiteY49" fmla="*/ 4089400 h 414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2857500" h="4140200">
                  <a:moveTo>
                    <a:pt x="2628900" y="4089400"/>
                  </a:moveTo>
                  <a:lnTo>
                    <a:pt x="2590800" y="4038600"/>
                  </a:lnTo>
                  <a:lnTo>
                    <a:pt x="2501900" y="3771900"/>
                  </a:lnTo>
                  <a:lnTo>
                    <a:pt x="2616200" y="3263900"/>
                  </a:lnTo>
                  <a:lnTo>
                    <a:pt x="2857500" y="2755900"/>
                  </a:lnTo>
                  <a:lnTo>
                    <a:pt x="2857500" y="2552700"/>
                  </a:lnTo>
                  <a:lnTo>
                    <a:pt x="2857500" y="2159000"/>
                  </a:lnTo>
                  <a:lnTo>
                    <a:pt x="2768600" y="1841500"/>
                  </a:lnTo>
                  <a:lnTo>
                    <a:pt x="2667000" y="1765300"/>
                  </a:lnTo>
                  <a:lnTo>
                    <a:pt x="2501900" y="1663700"/>
                  </a:lnTo>
                  <a:lnTo>
                    <a:pt x="2209800" y="1511300"/>
                  </a:lnTo>
                  <a:lnTo>
                    <a:pt x="2057400" y="1257300"/>
                  </a:lnTo>
                  <a:lnTo>
                    <a:pt x="2070100" y="1041400"/>
                  </a:lnTo>
                  <a:lnTo>
                    <a:pt x="2146300" y="1054100"/>
                  </a:lnTo>
                  <a:lnTo>
                    <a:pt x="2197100" y="1041400"/>
                  </a:lnTo>
                  <a:lnTo>
                    <a:pt x="2197100" y="736600"/>
                  </a:lnTo>
                  <a:lnTo>
                    <a:pt x="2159000" y="723900"/>
                  </a:lnTo>
                  <a:lnTo>
                    <a:pt x="2171700" y="431800"/>
                  </a:lnTo>
                  <a:lnTo>
                    <a:pt x="2082800" y="215900"/>
                  </a:lnTo>
                  <a:lnTo>
                    <a:pt x="1968500" y="88900"/>
                  </a:lnTo>
                  <a:lnTo>
                    <a:pt x="1638300" y="0"/>
                  </a:lnTo>
                  <a:lnTo>
                    <a:pt x="1358900" y="127000"/>
                  </a:lnTo>
                  <a:lnTo>
                    <a:pt x="1282700" y="266700"/>
                  </a:lnTo>
                  <a:lnTo>
                    <a:pt x="1219200" y="457200"/>
                  </a:lnTo>
                  <a:lnTo>
                    <a:pt x="1244600" y="685800"/>
                  </a:lnTo>
                  <a:lnTo>
                    <a:pt x="1244600" y="838200"/>
                  </a:lnTo>
                  <a:lnTo>
                    <a:pt x="1270000" y="1117600"/>
                  </a:lnTo>
                  <a:lnTo>
                    <a:pt x="1270000" y="1117600"/>
                  </a:lnTo>
                  <a:lnTo>
                    <a:pt x="1397000" y="1270000"/>
                  </a:lnTo>
                  <a:lnTo>
                    <a:pt x="1397000" y="1485900"/>
                  </a:lnTo>
                  <a:lnTo>
                    <a:pt x="1384300" y="1524000"/>
                  </a:lnTo>
                  <a:lnTo>
                    <a:pt x="762000" y="1701800"/>
                  </a:lnTo>
                  <a:lnTo>
                    <a:pt x="635000" y="1778000"/>
                  </a:lnTo>
                  <a:lnTo>
                    <a:pt x="622300" y="1955800"/>
                  </a:lnTo>
                  <a:lnTo>
                    <a:pt x="584200" y="1968500"/>
                  </a:lnTo>
                  <a:lnTo>
                    <a:pt x="584200" y="2057400"/>
                  </a:lnTo>
                  <a:lnTo>
                    <a:pt x="558800" y="2120900"/>
                  </a:lnTo>
                  <a:lnTo>
                    <a:pt x="431800" y="2374900"/>
                  </a:lnTo>
                  <a:lnTo>
                    <a:pt x="381000" y="2527300"/>
                  </a:lnTo>
                  <a:lnTo>
                    <a:pt x="190500" y="2768600"/>
                  </a:lnTo>
                  <a:lnTo>
                    <a:pt x="127000" y="2832100"/>
                  </a:lnTo>
                  <a:lnTo>
                    <a:pt x="76200" y="2933700"/>
                  </a:lnTo>
                  <a:lnTo>
                    <a:pt x="12700" y="3022600"/>
                  </a:lnTo>
                  <a:lnTo>
                    <a:pt x="0" y="3289300"/>
                  </a:lnTo>
                  <a:lnTo>
                    <a:pt x="25400" y="3556000"/>
                  </a:lnTo>
                  <a:lnTo>
                    <a:pt x="330200" y="3644900"/>
                  </a:lnTo>
                  <a:lnTo>
                    <a:pt x="571500" y="3670300"/>
                  </a:lnTo>
                  <a:lnTo>
                    <a:pt x="584200" y="3759200"/>
                  </a:lnTo>
                  <a:lnTo>
                    <a:pt x="520700" y="4140200"/>
                  </a:lnTo>
                  <a:lnTo>
                    <a:pt x="2628900" y="4089400"/>
                  </a:ln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5232154" y="2105346"/>
              <a:ext cx="1168401" cy="1739900"/>
              <a:chOff x="5232155" y="2105346"/>
              <a:chExt cx="1168400" cy="1739900"/>
            </a:xfrm>
          </p:grpSpPr>
          <p:sp>
            <p:nvSpPr>
              <p:cNvPr id="30" name="Freeform 29"/>
              <p:cNvSpPr/>
              <p:nvPr/>
            </p:nvSpPr>
            <p:spPr>
              <a:xfrm>
                <a:off x="5232155" y="2105346"/>
                <a:ext cx="1168400" cy="1739900"/>
              </a:xfrm>
              <a:custGeom>
                <a:avLst/>
                <a:gdLst>
                  <a:gd name="connsiteX0" fmla="*/ 330200 w 1168400"/>
                  <a:gd name="connsiteY0" fmla="*/ 203200 h 1739900"/>
                  <a:gd name="connsiteX1" fmla="*/ 101600 w 1168400"/>
                  <a:gd name="connsiteY1" fmla="*/ 457200 h 1739900"/>
                  <a:gd name="connsiteX2" fmla="*/ 152400 w 1168400"/>
                  <a:gd name="connsiteY2" fmla="*/ 508000 h 1739900"/>
                  <a:gd name="connsiteX3" fmla="*/ 0 w 1168400"/>
                  <a:gd name="connsiteY3" fmla="*/ 571500 h 1739900"/>
                  <a:gd name="connsiteX4" fmla="*/ 0 w 1168400"/>
                  <a:gd name="connsiteY4" fmla="*/ 1016000 h 1739900"/>
                  <a:gd name="connsiteX5" fmla="*/ 101600 w 1168400"/>
                  <a:gd name="connsiteY5" fmla="*/ 1409700 h 1739900"/>
                  <a:gd name="connsiteX6" fmla="*/ 152400 w 1168400"/>
                  <a:gd name="connsiteY6" fmla="*/ 1612900 h 1739900"/>
                  <a:gd name="connsiteX7" fmla="*/ 152400 w 1168400"/>
                  <a:gd name="connsiteY7" fmla="*/ 1739900 h 1739900"/>
                  <a:gd name="connsiteX8" fmla="*/ 279400 w 1168400"/>
                  <a:gd name="connsiteY8" fmla="*/ 1701800 h 1739900"/>
                  <a:gd name="connsiteX9" fmla="*/ 419100 w 1168400"/>
                  <a:gd name="connsiteY9" fmla="*/ 1333500 h 1739900"/>
                  <a:gd name="connsiteX10" fmla="*/ 596900 w 1168400"/>
                  <a:gd name="connsiteY10" fmla="*/ 1054100 h 1739900"/>
                  <a:gd name="connsiteX11" fmla="*/ 889000 w 1168400"/>
                  <a:gd name="connsiteY11" fmla="*/ 685800 h 1739900"/>
                  <a:gd name="connsiteX12" fmla="*/ 876300 w 1168400"/>
                  <a:gd name="connsiteY12" fmla="*/ 596900 h 1739900"/>
                  <a:gd name="connsiteX13" fmla="*/ 1003300 w 1168400"/>
                  <a:gd name="connsiteY13" fmla="*/ 558800 h 1739900"/>
                  <a:gd name="connsiteX14" fmla="*/ 1168400 w 1168400"/>
                  <a:gd name="connsiteY14" fmla="*/ 254000 h 1739900"/>
                  <a:gd name="connsiteX15" fmla="*/ 1016000 w 1168400"/>
                  <a:gd name="connsiteY15" fmla="*/ 0 h 1739900"/>
                  <a:gd name="connsiteX16" fmla="*/ 533400 w 1168400"/>
                  <a:gd name="connsiteY16" fmla="*/ 685800 h 1739900"/>
                  <a:gd name="connsiteX17" fmla="*/ 292100 w 1168400"/>
                  <a:gd name="connsiteY17" fmla="*/ 1181100 h 1739900"/>
                  <a:gd name="connsiteX18" fmla="*/ 304800 w 1168400"/>
                  <a:gd name="connsiteY18" fmla="*/ 825500 h 1739900"/>
                  <a:gd name="connsiteX19" fmla="*/ 330200 w 1168400"/>
                  <a:gd name="connsiteY19" fmla="*/ 203200 h 1739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68400" h="1739900">
                    <a:moveTo>
                      <a:pt x="330200" y="203200"/>
                    </a:moveTo>
                    <a:lnTo>
                      <a:pt x="101600" y="457200"/>
                    </a:lnTo>
                    <a:lnTo>
                      <a:pt x="152400" y="508000"/>
                    </a:lnTo>
                    <a:lnTo>
                      <a:pt x="0" y="571500"/>
                    </a:lnTo>
                    <a:lnTo>
                      <a:pt x="0" y="1016000"/>
                    </a:lnTo>
                    <a:lnTo>
                      <a:pt x="101600" y="1409700"/>
                    </a:lnTo>
                    <a:lnTo>
                      <a:pt x="152400" y="1612900"/>
                    </a:lnTo>
                    <a:lnTo>
                      <a:pt x="152400" y="1739900"/>
                    </a:lnTo>
                    <a:lnTo>
                      <a:pt x="279400" y="1701800"/>
                    </a:lnTo>
                    <a:lnTo>
                      <a:pt x="419100" y="1333500"/>
                    </a:lnTo>
                    <a:lnTo>
                      <a:pt x="596900" y="1054100"/>
                    </a:lnTo>
                    <a:lnTo>
                      <a:pt x="889000" y="685800"/>
                    </a:lnTo>
                    <a:lnTo>
                      <a:pt x="876300" y="596900"/>
                    </a:lnTo>
                    <a:lnTo>
                      <a:pt x="1003300" y="558800"/>
                    </a:lnTo>
                    <a:lnTo>
                      <a:pt x="1168400" y="254000"/>
                    </a:lnTo>
                    <a:lnTo>
                      <a:pt x="1016000" y="0"/>
                    </a:lnTo>
                    <a:lnTo>
                      <a:pt x="533400" y="685800"/>
                    </a:lnTo>
                    <a:lnTo>
                      <a:pt x="292100" y="1181100"/>
                    </a:lnTo>
                    <a:lnTo>
                      <a:pt x="304800" y="825500"/>
                    </a:lnTo>
                    <a:lnTo>
                      <a:pt x="330200" y="20320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Freeform 30"/>
              <p:cNvSpPr/>
              <p:nvPr/>
            </p:nvSpPr>
            <p:spPr>
              <a:xfrm>
                <a:off x="5589855" y="2184273"/>
                <a:ext cx="609601" cy="977900"/>
              </a:xfrm>
              <a:custGeom>
                <a:avLst/>
                <a:gdLst>
                  <a:gd name="connsiteX0" fmla="*/ 0 w 609600"/>
                  <a:gd name="connsiteY0" fmla="*/ 63500 h 977900"/>
                  <a:gd name="connsiteX1" fmla="*/ 152400 w 609600"/>
                  <a:gd name="connsiteY1" fmla="*/ 304800 h 977900"/>
                  <a:gd name="connsiteX2" fmla="*/ 609600 w 609600"/>
                  <a:gd name="connsiteY2" fmla="*/ 0 h 977900"/>
                  <a:gd name="connsiteX3" fmla="*/ 330200 w 609600"/>
                  <a:gd name="connsiteY3" fmla="*/ 393700 h 977900"/>
                  <a:gd name="connsiteX4" fmla="*/ 177800 w 609600"/>
                  <a:gd name="connsiteY4" fmla="*/ 558800 h 977900"/>
                  <a:gd name="connsiteX5" fmla="*/ 177800 w 609600"/>
                  <a:gd name="connsiteY5" fmla="*/ 660400 h 977900"/>
                  <a:gd name="connsiteX6" fmla="*/ 0 w 609600"/>
                  <a:gd name="connsiteY6" fmla="*/ 977900 h 977900"/>
                  <a:gd name="connsiteX7" fmla="*/ 0 w 609600"/>
                  <a:gd name="connsiteY7" fmla="*/ 647700 h 977900"/>
                  <a:gd name="connsiteX8" fmla="*/ 12700 w 609600"/>
                  <a:gd name="connsiteY8" fmla="*/ 419100 h 977900"/>
                  <a:gd name="connsiteX9" fmla="*/ 0 w 609600"/>
                  <a:gd name="connsiteY9" fmla="*/ 63500 h 977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09600" h="977900">
                    <a:moveTo>
                      <a:pt x="0" y="63500"/>
                    </a:moveTo>
                    <a:lnTo>
                      <a:pt x="152400" y="304800"/>
                    </a:lnTo>
                    <a:lnTo>
                      <a:pt x="609600" y="0"/>
                    </a:lnTo>
                    <a:lnTo>
                      <a:pt x="330200" y="393700"/>
                    </a:lnTo>
                    <a:lnTo>
                      <a:pt x="177800" y="558800"/>
                    </a:lnTo>
                    <a:lnTo>
                      <a:pt x="177800" y="660400"/>
                    </a:lnTo>
                    <a:lnTo>
                      <a:pt x="0" y="977900"/>
                    </a:lnTo>
                    <a:lnTo>
                      <a:pt x="0" y="647700"/>
                    </a:lnTo>
                    <a:lnTo>
                      <a:pt x="12700" y="419100"/>
                    </a:lnTo>
                    <a:lnTo>
                      <a:pt x="0" y="6350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6" name="Rectangle 35"/>
          <p:cNvSpPr/>
          <p:nvPr/>
        </p:nvSpPr>
        <p:spPr>
          <a:xfrm>
            <a:off x="7295277" y="4433688"/>
            <a:ext cx="1066800" cy="4953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0" rIns="0" rtlCol="0" anchor="ctr"/>
          <a:lstStyle/>
          <a:p>
            <a:pPr algn="ctr"/>
            <a:r>
              <a:rPr 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</a:t>
            </a:r>
            <a:r>
              <a:rPr lang="en-US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NFORMED</a:t>
            </a:r>
            <a:endParaRPr lang="en-US" sz="1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43" name="Straight Connector 42"/>
          <p:cNvCxnSpPr/>
          <p:nvPr/>
        </p:nvCxnSpPr>
        <p:spPr>
          <a:xfrm flipV="1">
            <a:off x="6706625" y="2800970"/>
            <a:ext cx="0" cy="114966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V="1">
            <a:off x="4934127" y="2800970"/>
            <a:ext cx="0" cy="114966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flipV="1">
            <a:off x="2278897" y="2800970"/>
            <a:ext cx="0" cy="114966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5964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232" y="6255010"/>
            <a:ext cx="691116" cy="47548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2" name="think-cell Slide" r:id="rId36" imgW="360" imgH="360" progId="">
                  <p:embed/>
                </p:oleObj>
              </mc:Choice>
              <mc:Fallback>
                <p:oleObj name="think-cell Slide" r:id="rId3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4750604" y="3678457"/>
            <a:ext cx="4028271" cy="242316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64008" rIns="91440" bIns="640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 b="1" dirty="0">
                <a:solidFill>
                  <a:srgbClr val="000000">
                    <a:lumMod val="85000"/>
                    <a:lumOff val="15000"/>
                  </a:srgbClr>
                </a:solidFill>
              </a:rPr>
              <a:t>Multiply the </a:t>
            </a:r>
            <a:r>
              <a:rPr lang="en-US" sz="1100" b="1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Value</a:t>
            </a:r>
          </a:p>
          <a:p>
            <a:pPr marL="230188" indent="-174625">
              <a:buFont typeface="+mj-lt"/>
              <a:buAutoNum type="arabicPeriod"/>
            </a:pP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elect a diagram Right Click on it &gt; Select Copy </a:t>
            </a:r>
            <a:endParaRPr lang="en-US" sz="1100" dirty="0" smtClean="0">
              <a:solidFill>
                <a:srgbClr val="000000">
                  <a:lumMod val="85000"/>
                  <a:lumOff val="15000"/>
                </a:srgbClr>
              </a:solidFill>
            </a:endParaRPr>
          </a:p>
          <a:p>
            <a:pPr marL="230188" indent="-174625">
              <a:buFont typeface="+mj-lt"/>
              <a:buAutoNum type="arabicPeriod"/>
            </a:pPr>
            <a:r>
              <a:rPr lang="en-US" sz="1100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Go </a:t>
            </a: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to your new slide, Right Click &gt; and from the Paste Options &gt; Select “Use Destination Theme (H)”</a:t>
            </a:r>
          </a:p>
          <a:p>
            <a:pPr marL="230188" indent="-174625">
              <a:buFont typeface="+mj-lt"/>
              <a:buAutoNum type="arabicPeriod"/>
            </a:pP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By pasting that copied diagram onto new slides you can multiply the product value as much as you want</a:t>
            </a:r>
            <a:r>
              <a:rPr lang="en-US" sz="1100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.</a:t>
            </a:r>
            <a:endParaRPr lang="en-US" sz="1100" dirty="0">
              <a:solidFill>
                <a:srgbClr val="000000">
                  <a:lumMod val="85000"/>
                  <a:lumOff val="15000"/>
                </a:srgbClr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65125" y="934315"/>
            <a:ext cx="4028271" cy="242316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tIns="64008" bIns="64008" rtlCol="0" anchor="t"/>
          <a:lstStyle/>
          <a:p>
            <a:r>
              <a:rPr lang="en-US" sz="1100" b="1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Scale</a:t>
            </a:r>
          </a:p>
          <a:p>
            <a:r>
              <a:rPr lang="en-US" sz="1100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Your </a:t>
            </a: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image can be made large or small and will still look fantastic. Just select it and drag from one of the corners. Hold down Shift key to scale </a:t>
            </a:r>
            <a:r>
              <a:rPr lang="en-US" sz="1100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proportionally. </a:t>
            </a:r>
            <a:endParaRPr lang="en-US" sz="1100" dirty="0">
              <a:solidFill>
                <a:srgbClr val="000000">
                  <a:lumMod val="85000"/>
                  <a:lumOff val="15000"/>
                </a:srgbClr>
              </a:solidFill>
            </a:endParaRPr>
          </a:p>
        </p:txBody>
      </p:sp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n>
                  <a:noFill/>
                </a:ln>
                <a:latin typeface="+mj-lt"/>
                <a:cs typeface="Calibri" pitchFamily="34" charset="0"/>
              </a:rPr>
              <a:t>How to Use Our Editable PPT Products</a:t>
            </a:r>
            <a:endParaRPr lang="en-US" dirty="0">
              <a:ln>
                <a:noFill/>
              </a:ln>
              <a:latin typeface="+mj-lt"/>
              <a:cs typeface="Calibri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750604" y="934315"/>
            <a:ext cx="4028271" cy="242316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64008" rIns="91440" bIns="640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 b="1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Group &amp; Ungroup Objects</a:t>
            </a:r>
            <a:r>
              <a:rPr lang="en-US" sz="1100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 </a:t>
            </a:r>
            <a:endParaRPr lang="en-US" sz="1100" dirty="0">
              <a:solidFill>
                <a:srgbClr val="000000">
                  <a:lumMod val="85000"/>
                  <a:lumOff val="15000"/>
                </a:srgbClr>
              </a:solidFill>
            </a:endParaRPr>
          </a:p>
          <a:p>
            <a:pPr marL="227013" indent="-174625">
              <a:buFont typeface="+mj-lt"/>
              <a:buAutoNum type="arabicPeriod"/>
            </a:pP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Right-click on the object.</a:t>
            </a:r>
          </a:p>
          <a:p>
            <a:pPr marL="227013" indent="-174625">
              <a:buFont typeface="+mj-lt"/>
              <a:buAutoNum type="arabicPeriod"/>
            </a:pP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Choose “Group”&gt; “Ungroup” in the dialog box.</a:t>
            </a:r>
          </a:p>
          <a:p>
            <a:pPr marL="227013" indent="-174625">
              <a:buFont typeface="+mj-lt"/>
              <a:buAutoNum type="arabicPeriod"/>
            </a:pP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You can now manipulate the shapes at will to suit your requirements by </a:t>
            </a:r>
            <a:r>
              <a:rPr lang="en-US" sz="1100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coloring </a:t>
            </a: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or removing the shape</a:t>
            </a:r>
            <a:r>
              <a:rPr lang="en-US" sz="1100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.</a:t>
            </a:r>
            <a:endParaRPr lang="en-US" sz="1100" dirty="0">
              <a:solidFill>
                <a:srgbClr val="000000">
                  <a:lumMod val="85000"/>
                  <a:lumOff val="15000"/>
                </a:srgb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65125" y="3678457"/>
            <a:ext cx="4028271" cy="242316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64008" rIns="0" bIns="640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 b="1" dirty="0">
                <a:solidFill>
                  <a:srgbClr val="000000">
                    <a:lumMod val="85000"/>
                    <a:lumOff val="15000"/>
                  </a:srgbClr>
                </a:solidFill>
              </a:rPr>
              <a:t>Changing </a:t>
            </a:r>
            <a:r>
              <a:rPr lang="en-US" sz="1100" b="1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Color</a:t>
            </a:r>
          </a:p>
          <a:p>
            <a:pPr marL="227013" indent="-174625">
              <a:buFont typeface="+mj-lt"/>
              <a:buAutoNum type="arabicPeriod"/>
            </a:pPr>
            <a:r>
              <a:rPr lang="en-US" sz="1100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Select any shape click </a:t>
            </a: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on </a:t>
            </a:r>
            <a:r>
              <a:rPr lang="en-US" sz="1100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“Format” on the Ribbon</a:t>
            </a:r>
            <a:endParaRPr lang="en-US" sz="1100" dirty="0">
              <a:solidFill>
                <a:srgbClr val="000000">
                  <a:lumMod val="85000"/>
                  <a:lumOff val="15000"/>
                </a:srgbClr>
              </a:solidFill>
            </a:endParaRPr>
          </a:p>
          <a:p>
            <a:pPr marL="227013" indent="-174625">
              <a:buFont typeface="+mj-lt"/>
              <a:buAutoNum type="arabicPeriod"/>
            </a:pP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Then click on </a:t>
            </a:r>
            <a:r>
              <a:rPr lang="en-US" sz="1100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“Shape fill</a:t>
            </a: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” Select </a:t>
            </a:r>
            <a:r>
              <a:rPr lang="en-US" sz="1100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any </a:t>
            </a:r>
            <a:r>
              <a:rPr lang="en-US" sz="11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color from </a:t>
            </a:r>
            <a:r>
              <a:rPr lang="en-US" sz="1100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Fill that you want</a:t>
            </a:r>
            <a:endParaRPr lang="en-US" sz="1100" dirty="0">
              <a:solidFill>
                <a:srgbClr val="000000">
                  <a:lumMod val="85000"/>
                  <a:lumOff val="15000"/>
                </a:srgbClr>
              </a:solidFill>
            </a:endParaRPr>
          </a:p>
        </p:txBody>
      </p:sp>
      <p:grpSp>
        <p:nvGrpSpPr>
          <p:cNvPr id="93" name="Group 92"/>
          <p:cNvGrpSpPr/>
          <p:nvPr/>
        </p:nvGrpSpPr>
        <p:grpSpPr>
          <a:xfrm>
            <a:off x="737334" y="1720395"/>
            <a:ext cx="3283853" cy="1463647"/>
            <a:chOff x="891038" y="1476507"/>
            <a:chExt cx="3095798" cy="1379829"/>
          </a:xfrm>
        </p:grpSpPr>
        <p:sp>
          <p:nvSpPr>
            <p:cNvPr id="7" name="Rectangle 6"/>
            <p:cNvSpPr/>
            <p:nvPr/>
          </p:nvSpPr>
          <p:spPr>
            <a:xfrm>
              <a:off x="891038" y="1854204"/>
              <a:ext cx="1097280" cy="1002131"/>
            </a:xfrm>
            <a:prstGeom prst="rect">
              <a:avLst/>
            </a:prstGeom>
            <a:blipFill dpi="0" rotWithShape="1">
              <a:blip r:embed="rId38">
                <a:alphaModFix amt="50000"/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>
              <a:off x="1569720" y="1476507"/>
              <a:ext cx="1525905" cy="381083"/>
            </a:xfrm>
            <a:custGeom>
              <a:avLst/>
              <a:gdLst>
                <a:gd name="connsiteX0" fmla="*/ 0 w 1516380"/>
                <a:gd name="connsiteY0" fmla="*/ 381000 h 381000"/>
                <a:gd name="connsiteX1" fmla="*/ 1516380 w 1516380"/>
                <a:gd name="connsiteY1" fmla="*/ 0 h 381000"/>
                <a:gd name="connsiteX0" fmla="*/ 0 w 1525905"/>
                <a:gd name="connsiteY0" fmla="*/ 385762 h 385762"/>
                <a:gd name="connsiteX1" fmla="*/ 1525905 w 1525905"/>
                <a:gd name="connsiteY1" fmla="*/ 0 h 38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5905" h="385762">
                  <a:moveTo>
                    <a:pt x="0" y="385762"/>
                  </a:moveTo>
                  <a:lnTo>
                    <a:pt x="1525905" y="0"/>
                  </a:lnTo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1" name="Freeform 90"/>
            <p:cNvSpPr/>
            <p:nvPr/>
          </p:nvSpPr>
          <p:spPr>
            <a:xfrm>
              <a:off x="1866900" y="2848191"/>
              <a:ext cx="815340" cy="0"/>
            </a:xfrm>
            <a:custGeom>
              <a:avLst/>
              <a:gdLst>
                <a:gd name="connsiteX0" fmla="*/ 0 w 815340"/>
                <a:gd name="connsiteY0" fmla="*/ 0 h 0"/>
                <a:gd name="connsiteX1" fmla="*/ 815340 w 81534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5340">
                  <a:moveTo>
                    <a:pt x="0" y="0"/>
                  </a:moveTo>
                  <a:lnTo>
                    <a:pt x="815340" y="0"/>
                  </a:lnTo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2475998" y="1476508"/>
              <a:ext cx="1510838" cy="1379828"/>
            </a:xfrm>
            <a:prstGeom prst="rect">
              <a:avLst/>
            </a:prstGeom>
            <a:blipFill dpi="0" rotWithShape="1">
              <a:blip r:embed="rId38"/>
              <a:srcRect/>
              <a:stretch>
                <a:fillRect/>
              </a:stretch>
            </a:blipFill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2" name="Oval 43"/>
            <p:cNvSpPr/>
            <p:nvPr/>
          </p:nvSpPr>
          <p:spPr>
            <a:xfrm rot="19800000">
              <a:off x="2110589" y="1854376"/>
              <a:ext cx="327962" cy="327962"/>
            </a:xfrm>
            <a:custGeom>
              <a:avLst/>
              <a:gdLst/>
              <a:ahLst/>
              <a:cxnLst/>
              <a:rect l="l" t="t" r="r" b="b"/>
              <a:pathLst>
                <a:path w="1065264" h="1065264">
                  <a:moveTo>
                    <a:pt x="575798" y="191822"/>
                  </a:moveTo>
                  <a:lnTo>
                    <a:pt x="461124" y="306495"/>
                  </a:lnTo>
                  <a:lnTo>
                    <a:pt x="606175" y="451546"/>
                  </a:lnTo>
                  <a:lnTo>
                    <a:pt x="149725" y="451546"/>
                  </a:lnTo>
                  <a:lnTo>
                    <a:pt x="149725" y="613718"/>
                  </a:lnTo>
                  <a:lnTo>
                    <a:pt x="606177" y="613718"/>
                  </a:lnTo>
                  <a:lnTo>
                    <a:pt x="461125" y="758769"/>
                  </a:lnTo>
                  <a:lnTo>
                    <a:pt x="575798" y="873442"/>
                  </a:lnTo>
                  <a:lnTo>
                    <a:pt x="915539" y="533702"/>
                  </a:lnTo>
                  <a:lnTo>
                    <a:pt x="914468" y="532632"/>
                  </a:lnTo>
                  <a:lnTo>
                    <a:pt x="915538" y="531562"/>
                  </a:lnTo>
                  <a:close/>
                  <a:moveTo>
                    <a:pt x="532632" y="0"/>
                  </a:moveTo>
                  <a:cubicBezTo>
                    <a:pt x="826797" y="0"/>
                    <a:pt x="1065264" y="238467"/>
                    <a:pt x="1065264" y="532632"/>
                  </a:cubicBezTo>
                  <a:cubicBezTo>
                    <a:pt x="1065264" y="826797"/>
                    <a:pt x="826797" y="1065264"/>
                    <a:pt x="532632" y="1065264"/>
                  </a:cubicBezTo>
                  <a:cubicBezTo>
                    <a:pt x="238467" y="1065264"/>
                    <a:pt x="0" y="826797"/>
                    <a:pt x="0" y="532632"/>
                  </a:cubicBezTo>
                  <a:cubicBezTo>
                    <a:pt x="0" y="238467"/>
                    <a:pt x="238467" y="0"/>
                    <a:pt x="532632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10000" cap="flat" cmpd="sng" algn="ctr">
              <a:noFill/>
              <a:prstDash val="solid"/>
            </a:ln>
            <a:effectLst/>
          </p:spPr>
          <p:txBody>
            <a:bodyPr lIns="45720" rIns="45720" rtlCol="0" anchor="ctr"/>
            <a:lstStyle/>
            <a:p>
              <a:pPr algn="ctr"/>
              <a:endParaRPr lang="en-US" sz="2800" b="1" kern="0" dirty="0">
                <a:solidFill>
                  <a:srgbClr val="FFFFFF"/>
                </a:solidFill>
                <a:sym typeface="Calibri"/>
              </a:endParaRP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4914943" y="1960524"/>
            <a:ext cx="3699593" cy="1311937"/>
            <a:chOff x="4725292" y="2162950"/>
            <a:chExt cx="3959543" cy="1404119"/>
          </a:xfrm>
        </p:grpSpPr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5292" y="2162950"/>
              <a:ext cx="1271271" cy="13107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" name="Picture 3"/>
            <p:cNvPicPr>
              <a:picLocks noChangeAspect="1" noChangeArrowheads="1"/>
            </p:cNvPicPr>
            <p:nvPr/>
          </p:nvPicPr>
          <p:blipFill rotWithShape="1"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267"/>
            <a:stretch/>
          </p:blipFill>
          <p:spPr bwMode="auto">
            <a:xfrm>
              <a:off x="5939413" y="2172562"/>
              <a:ext cx="1403000" cy="13945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31" name="Picture 7"/>
            <p:cNvPicPr>
              <a:picLocks noChangeAspect="1" noChangeArrowheads="1"/>
            </p:cNvPicPr>
            <p:nvPr/>
          </p:nvPicPr>
          <p:blipFill rotWithShape="1"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41" t="2336"/>
            <a:stretch/>
          </p:blipFill>
          <p:spPr bwMode="auto">
            <a:xfrm>
              <a:off x="7493258" y="2262068"/>
              <a:ext cx="1191577" cy="11928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32" name="Picture 8"/>
          <p:cNvPicPr>
            <a:picLocks noChangeAspect="1" noChangeArrowheads="1"/>
          </p:cNvPicPr>
          <p:nvPr/>
        </p:nvPicPr>
        <p:blipFill rotWithShape="1"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1"/>
          <a:stretch/>
        </p:blipFill>
        <p:spPr bwMode="auto">
          <a:xfrm>
            <a:off x="433584" y="4303386"/>
            <a:ext cx="3093154" cy="944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6721" y="5318969"/>
            <a:ext cx="2909350" cy="7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6" name="Oval 43"/>
          <p:cNvSpPr/>
          <p:nvPr/>
        </p:nvSpPr>
        <p:spPr>
          <a:xfrm rot="2484336">
            <a:off x="3610691" y="5011979"/>
            <a:ext cx="347884" cy="347884"/>
          </a:xfrm>
          <a:custGeom>
            <a:avLst/>
            <a:gdLst/>
            <a:ahLst/>
            <a:cxnLst/>
            <a:rect l="l" t="t" r="r" b="b"/>
            <a:pathLst>
              <a:path w="1065264" h="1065264">
                <a:moveTo>
                  <a:pt x="575798" y="191822"/>
                </a:moveTo>
                <a:lnTo>
                  <a:pt x="461124" y="306495"/>
                </a:lnTo>
                <a:lnTo>
                  <a:pt x="606175" y="451546"/>
                </a:lnTo>
                <a:lnTo>
                  <a:pt x="149725" y="451546"/>
                </a:lnTo>
                <a:lnTo>
                  <a:pt x="149725" y="613718"/>
                </a:lnTo>
                <a:lnTo>
                  <a:pt x="606177" y="613718"/>
                </a:lnTo>
                <a:lnTo>
                  <a:pt x="461125" y="758769"/>
                </a:lnTo>
                <a:lnTo>
                  <a:pt x="575798" y="873442"/>
                </a:lnTo>
                <a:lnTo>
                  <a:pt x="915539" y="533702"/>
                </a:lnTo>
                <a:lnTo>
                  <a:pt x="914468" y="532632"/>
                </a:lnTo>
                <a:lnTo>
                  <a:pt x="915538" y="531562"/>
                </a:lnTo>
                <a:close/>
                <a:moveTo>
                  <a:pt x="532632" y="0"/>
                </a:moveTo>
                <a:cubicBezTo>
                  <a:pt x="826797" y="0"/>
                  <a:pt x="1065264" y="238467"/>
                  <a:pt x="1065264" y="532632"/>
                </a:cubicBezTo>
                <a:cubicBezTo>
                  <a:pt x="1065264" y="826797"/>
                  <a:pt x="826797" y="1065264"/>
                  <a:pt x="532632" y="1065264"/>
                </a:cubicBezTo>
                <a:cubicBezTo>
                  <a:pt x="238467" y="1065264"/>
                  <a:pt x="0" y="826797"/>
                  <a:pt x="0" y="532632"/>
                </a:cubicBezTo>
                <a:cubicBezTo>
                  <a:pt x="0" y="238467"/>
                  <a:pt x="238467" y="0"/>
                  <a:pt x="532632" y="0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10000" cap="flat" cmpd="sng" algn="ctr">
            <a:noFill/>
            <a:prstDash val="solid"/>
          </a:ln>
          <a:effectLst/>
        </p:spPr>
        <p:txBody>
          <a:bodyPr lIns="45720" rIns="45720" rtlCol="0" anchor="ctr"/>
          <a:lstStyle/>
          <a:p>
            <a:pPr algn="ctr"/>
            <a:endParaRPr lang="en-US" sz="2800" b="1" kern="0" dirty="0">
              <a:solidFill>
                <a:srgbClr val="FFFFFF"/>
              </a:solidFill>
              <a:sym typeface="Calibri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871724" y="4728877"/>
            <a:ext cx="3786031" cy="1316324"/>
            <a:chOff x="4690495" y="4639669"/>
            <a:chExt cx="4009369" cy="1393974"/>
          </a:xfrm>
        </p:grpSpPr>
        <p:grpSp>
          <p:nvGrpSpPr>
            <p:cNvPr id="401" name="Group 400"/>
            <p:cNvGrpSpPr/>
            <p:nvPr/>
          </p:nvGrpSpPr>
          <p:grpSpPr>
            <a:xfrm>
              <a:off x="8038815" y="5325725"/>
              <a:ext cx="661049" cy="656793"/>
              <a:chOff x="3919429" y="1209323"/>
              <a:chExt cx="4859446" cy="4828165"/>
            </a:xfrm>
          </p:grpSpPr>
          <p:sp>
            <p:nvSpPr>
              <p:cNvPr id="402" name="Rounded Rectangle 13"/>
              <p:cNvSpPr/>
              <p:nvPr/>
            </p:nvSpPr>
            <p:spPr>
              <a:xfrm>
                <a:off x="4396180" y="1701512"/>
                <a:ext cx="3843788" cy="3843789"/>
              </a:xfrm>
              <a:custGeom>
                <a:avLst/>
                <a:gdLst/>
                <a:ahLst/>
                <a:cxnLst/>
                <a:rect l="l" t="t" r="r" b="b"/>
                <a:pathLst>
                  <a:path w="3843788" h="3843789">
                    <a:moveTo>
                      <a:pt x="1919761" y="3250577"/>
                    </a:moveTo>
                    <a:cubicBezTo>
                      <a:pt x="1813918" y="3256402"/>
                      <a:pt x="1723191" y="3335868"/>
                      <a:pt x="1707074" y="3444816"/>
                    </a:cubicBezTo>
                    <a:cubicBezTo>
                      <a:pt x="1688654" y="3569329"/>
                      <a:pt x="1774660" y="3685198"/>
                      <a:pt x="1899172" y="3703618"/>
                    </a:cubicBezTo>
                    <a:cubicBezTo>
                      <a:pt x="2023684" y="3722037"/>
                      <a:pt x="2139554" y="3636032"/>
                      <a:pt x="2157973" y="3511519"/>
                    </a:cubicBezTo>
                    <a:cubicBezTo>
                      <a:pt x="2176393" y="3387008"/>
                      <a:pt x="2090387" y="3271138"/>
                      <a:pt x="1965875" y="3252718"/>
                    </a:cubicBezTo>
                    <a:cubicBezTo>
                      <a:pt x="1950311" y="3250416"/>
                      <a:pt x="1934882" y="3249745"/>
                      <a:pt x="1919761" y="3250577"/>
                    </a:cubicBezTo>
                    <a:close/>
                    <a:moveTo>
                      <a:pt x="1136654" y="3061426"/>
                    </a:moveTo>
                    <a:cubicBezTo>
                      <a:pt x="1030811" y="3067250"/>
                      <a:pt x="940083" y="3146717"/>
                      <a:pt x="923966" y="3255665"/>
                    </a:cubicBezTo>
                    <a:cubicBezTo>
                      <a:pt x="905547" y="3380177"/>
                      <a:pt x="991552" y="3496046"/>
                      <a:pt x="1116064" y="3514466"/>
                    </a:cubicBezTo>
                    <a:cubicBezTo>
                      <a:pt x="1240576" y="3532885"/>
                      <a:pt x="1356446" y="3446880"/>
                      <a:pt x="1374865" y="3322368"/>
                    </a:cubicBezTo>
                    <a:cubicBezTo>
                      <a:pt x="1393285" y="3197856"/>
                      <a:pt x="1307279" y="3081986"/>
                      <a:pt x="1182767" y="3063567"/>
                    </a:cubicBezTo>
                    <a:cubicBezTo>
                      <a:pt x="1167203" y="3061264"/>
                      <a:pt x="1151774" y="3060594"/>
                      <a:pt x="1136654" y="3061426"/>
                    </a:cubicBezTo>
                    <a:close/>
                    <a:moveTo>
                      <a:pt x="2684754" y="3060058"/>
                    </a:moveTo>
                    <a:cubicBezTo>
                      <a:pt x="2578910" y="3065883"/>
                      <a:pt x="2488183" y="3145349"/>
                      <a:pt x="2472066" y="3254297"/>
                    </a:cubicBezTo>
                    <a:cubicBezTo>
                      <a:pt x="2453646" y="3378809"/>
                      <a:pt x="2539652" y="3494679"/>
                      <a:pt x="2664164" y="3513098"/>
                    </a:cubicBezTo>
                    <a:cubicBezTo>
                      <a:pt x="2788676" y="3531518"/>
                      <a:pt x="2904546" y="3445512"/>
                      <a:pt x="2922965" y="3321000"/>
                    </a:cubicBezTo>
                    <a:cubicBezTo>
                      <a:pt x="2941385" y="3196488"/>
                      <a:pt x="2855379" y="3080619"/>
                      <a:pt x="2730867" y="3062199"/>
                    </a:cubicBezTo>
                    <a:cubicBezTo>
                      <a:pt x="2715303" y="3059897"/>
                      <a:pt x="2699874" y="3059226"/>
                      <a:pt x="2684754" y="3060058"/>
                    </a:cubicBezTo>
                    <a:close/>
                    <a:moveTo>
                      <a:pt x="3231159" y="2481155"/>
                    </a:moveTo>
                    <a:cubicBezTo>
                      <a:pt x="3125316" y="2486980"/>
                      <a:pt x="3034589" y="2566447"/>
                      <a:pt x="3018472" y="2675395"/>
                    </a:cubicBezTo>
                    <a:cubicBezTo>
                      <a:pt x="3000052" y="2799907"/>
                      <a:pt x="3086058" y="2915776"/>
                      <a:pt x="3210570" y="2934196"/>
                    </a:cubicBezTo>
                    <a:cubicBezTo>
                      <a:pt x="3335082" y="2952615"/>
                      <a:pt x="3450951" y="2866610"/>
                      <a:pt x="3469371" y="2742098"/>
                    </a:cubicBezTo>
                    <a:cubicBezTo>
                      <a:pt x="3487790" y="2617586"/>
                      <a:pt x="3401785" y="2501716"/>
                      <a:pt x="3277273" y="2483297"/>
                    </a:cubicBezTo>
                    <a:cubicBezTo>
                      <a:pt x="3261709" y="2480994"/>
                      <a:pt x="3246280" y="2480323"/>
                      <a:pt x="3231159" y="2481155"/>
                    </a:cubicBezTo>
                    <a:close/>
                    <a:moveTo>
                      <a:pt x="584536" y="2475536"/>
                    </a:moveTo>
                    <a:cubicBezTo>
                      <a:pt x="478693" y="2481360"/>
                      <a:pt x="387966" y="2560827"/>
                      <a:pt x="371849" y="2669775"/>
                    </a:cubicBezTo>
                    <a:cubicBezTo>
                      <a:pt x="353429" y="2794287"/>
                      <a:pt x="439435" y="2910156"/>
                      <a:pt x="563947" y="2928576"/>
                    </a:cubicBezTo>
                    <a:cubicBezTo>
                      <a:pt x="688459" y="2946995"/>
                      <a:pt x="804328" y="2860990"/>
                      <a:pt x="822748" y="2736478"/>
                    </a:cubicBezTo>
                    <a:cubicBezTo>
                      <a:pt x="841167" y="2611966"/>
                      <a:pt x="755162" y="2496096"/>
                      <a:pt x="630650" y="2477677"/>
                    </a:cubicBezTo>
                    <a:cubicBezTo>
                      <a:pt x="615086" y="2475374"/>
                      <a:pt x="599657" y="2474703"/>
                      <a:pt x="584536" y="2475536"/>
                    </a:cubicBezTo>
                    <a:close/>
                    <a:moveTo>
                      <a:pt x="3439305" y="1711227"/>
                    </a:moveTo>
                    <a:cubicBezTo>
                      <a:pt x="3333462" y="1717051"/>
                      <a:pt x="3242735" y="1796518"/>
                      <a:pt x="3226618" y="1905466"/>
                    </a:cubicBezTo>
                    <a:cubicBezTo>
                      <a:pt x="3208198" y="2029978"/>
                      <a:pt x="3294204" y="2145848"/>
                      <a:pt x="3418716" y="2164267"/>
                    </a:cubicBezTo>
                    <a:cubicBezTo>
                      <a:pt x="3543228" y="2182687"/>
                      <a:pt x="3659097" y="2096681"/>
                      <a:pt x="3677517" y="1972169"/>
                    </a:cubicBezTo>
                    <a:cubicBezTo>
                      <a:pt x="3695936" y="1847657"/>
                      <a:pt x="3609931" y="1731787"/>
                      <a:pt x="3485419" y="1713368"/>
                    </a:cubicBezTo>
                    <a:cubicBezTo>
                      <a:pt x="3469855" y="1711065"/>
                      <a:pt x="3454426" y="1710395"/>
                      <a:pt x="3439305" y="1711227"/>
                    </a:cubicBezTo>
                    <a:close/>
                    <a:moveTo>
                      <a:pt x="374138" y="1703344"/>
                    </a:moveTo>
                    <a:cubicBezTo>
                      <a:pt x="268295" y="1709168"/>
                      <a:pt x="177568" y="1788635"/>
                      <a:pt x="161451" y="1897583"/>
                    </a:cubicBezTo>
                    <a:cubicBezTo>
                      <a:pt x="143031" y="2022095"/>
                      <a:pt x="229037" y="2137964"/>
                      <a:pt x="353549" y="2156384"/>
                    </a:cubicBezTo>
                    <a:cubicBezTo>
                      <a:pt x="478061" y="2174803"/>
                      <a:pt x="593930" y="2088798"/>
                      <a:pt x="612350" y="1964286"/>
                    </a:cubicBezTo>
                    <a:cubicBezTo>
                      <a:pt x="630769" y="1839774"/>
                      <a:pt x="544764" y="1723904"/>
                      <a:pt x="420252" y="1705485"/>
                    </a:cubicBezTo>
                    <a:cubicBezTo>
                      <a:pt x="404688" y="1703182"/>
                      <a:pt x="389259" y="1702511"/>
                      <a:pt x="374138" y="1703344"/>
                    </a:cubicBezTo>
                    <a:close/>
                    <a:moveTo>
                      <a:pt x="1900327" y="1537267"/>
                    </a:moveTo>
                    <a:cubicBezTo>
                      <a:pt x="1925881" y="1535860"/>
                      <a:pt x="1951956" y="1536994"/>
                      <a:pt x="1978259" y="1540885"/>
                    </a:cubicBezTo>
                    <a:cubicBezTo>
                      <a:pt x="2188685" y="1572014"/>
                      <a:pt x="2334034" y="1767834"/>
                      <a:pt x="2302905" y="1978260"/>
                    </a:cubicBezTo>
                    <a:cubicBezTo>
                      <a:pt x="2271776" y="2188686"/>
                      <a:pt x="2075957" y="2334035"/>
                      <a:pt x="1865531" y="2302906"/>
                    </a:cubicBezTo>
                    <a:cubicBezTo>
                      <a:pt x="1655105" y="2271777"/>
                      <a:pt x="1509756" y="2075957"/>
                      <a:pt x="1540885" y="1865531"/>
                    </a:cubicBezTo>
                    <a:cubicBezTo>
                      <a:pt x="1568123" y="1681408"/>
                      <a:pt x="1721452" y="1547110"/>
                      <a:pt x="1900327" y="1537267"/>
                    </a:cubicBezTo>
                    <a:close/>
                    <a:moveTo>
                      <a:pt x="1964876" y="955637"/>
                    </a:moveTo>
                    <a:cubicBezTo>
                      <a:pt x="1475193" y="933263"/>
                      <a:pt x="1038448" y="1285002"/>
                      <a:pt x="965168" y="1780362"/>
                    </a:cubicBezTo>
                    <a:cubicBezTo>
                      <a:pt x="887002" y="2308747"/>
                      <a:pt x="1251977" y="2800454"/>
                      <a:pt x="1780362" y="2878620"/>
                    </a:cubicBezTo>
                    <a:cubicBezTo>
                      <a:pt x="2308747" y="2956786"/>
                      <a:pt x="2800454" y="2591811"/>
                      <a:pt x="2878620" y="2063426"/>
                    </a:cubicBezTo>
                    <a:cubicBezTo>
                      <a:pt x="2956786" y="1535041"/>
                      <a:pt x="2591811" y="1043334"/>
                      <a:pt x="2063426" y="965168"/>
                    </a:cubicBezTo>
                    <a:cubicBezTo>
                      <a:pt x="2030402" y="960283"/>
                      <a:pt x="1997521" y="957129"/>
                      <a:pt x="1964876" y="955637"/>
                    </a:cubicBezTo>
                    <a:close/>
                    <a:moveTo>
                      <a:pt x="3228333" y="942917"/>
                    </a:moveTo>
                    <a:cubicBezTo>
                      <a:pt x="3122490" y="948741"/>
                      <a:pt x="3031762" y="1028208"/>
                      <a:pt x="3015645" y="1137156"/>
                    </a:cubicBezTo>
                    <a:cubicBezTo>
                      <a:pt x="2997226" y="1261668"/>
                      <a:pt x="3083231" y="1377537"/>
                      <a:pt x="3207743" y="1395957"/>
                    </a:cubicBezTo>
                    <a:cubicBezTo>
                      <a:pt x="3332256" y="1414376"/>
                      <a:pt x="3448125" y="1328371"/>
                      <a:pt x="3466545" y="1203859"/>
                    </a:cubicBezTo>
                    <a:cubicBezTo>
                      <a:pt x="3484964" y="1079347"/>
                      <a:pt x="3398959" y="963477"/>
                      <a:pt x="3274446" y="945058"/>
                    </a:cubicBezTo>
                    <a:cubicBezTo>
                      <a:pt x="3258882" y="942755"/>
                      <a:pt x="3243453" y="942085"/>
                      <a:pt x="3228333" y="942917"/>
                    </a:cubicBezTo>
                    <a:close/>
                    <a:moveTo>
                      <a:pt x="583340" y="926277"/>
                    </a:moveTo>
                    <a:cubicBezTo>
                      <a:pt x="477497" y="932102"/>
                      <a:pt x="386770" y="1011568"/>
                      <a:pt x="370653" y="1120517"/>
                    </a:cubicBezTo>
                    <a:cubicBezTo>
                      <a:pt x="352233" y="1245029"/>
                      <a:pt x="438238" y="1360898"/>
                      <a:pt x="562751" y="1379318"/>
                    </a:cubicBezTo>
                    <a:cubicBezTo>
                      <a:pt x="687263" y="1397737"/>
                      <a:pt x="803132" y="1311732"/>
                      <a:pt x="821552" y="1187220"/>
                    </a:cubicBezTo>
                    <a:cubicBezTo>
                      <a:pt x="839971" y="1062708"/>
                      <a:pt x="753966" y="946838"/>
                      <a:pt x="629454" y="928419"/>
                    </a:cubicBezTo>
                    <a:cubicBezTo>
                      <a:pt x="613890" y="926116"/>
                      <a:pt x="598461" y="925445"/>
                      <a:pt x="583340" y="926277"/>
                    </a:cubicBezTo>
                    <a:close/>
                    <a:moveTo>
                      <a:pt x="2684162" y="380705"/>
                    </a:moveTo>
                    <a:cubicBezTo>
                      <a:pt x="2578319" y="386529"/>
                      <a:pt x="2487591" y="465996"/>
                      <a:pt x="2471474" y="574944"/>
                    </a:cubicBezTo>
                    <a:cubicBezTo>
                      <a:pt x="2453055" y="699456"/>
                      <a:pt x="2539060" y="815326"/>
                      <a:pt x="2663573" y="833745"/>
                    </a:cubicBezTo>
                    <a:cubicBezTo>
                      <a:pt x="2788084" y="852165"/>
                      <a:pt x="2903954" y="766159"/>
                      <a:pt x="2922374" y="641647"/>
                    </a:cubicBezTo>
                    <a:cubicBezTo>
                      <a:pt x="2940793" y="517135"/>
                      <a:pt x="2854788" y="401266"/>
                      <a:pt x="2730276" y="382846"/>
                    </a:cubicBezTo>
                    <a:cubicBezTo>
                      <a:pt x="2714712" y="380544"/>
                      <a:pt x="2699283" y="379873"/>
                      <a:pt x="2684162" y="380705"/>
                    </a:cubicBezTo>
                    <a:close/>
                    <a:moveTo>
                      <a:pt x="1148386" y="362952"/>
                    </a:moveTo>
                    <a:cubicBezTo>
                      <a:pt x="1042542" y="368776"/>
                      <a:pt x="951815" y="448243"/>
                      <a:pt x="935698" y="557191"/>
                    </a:cubicBezTo>
                    <a:cubicBezTo>
                      <a:pt x="917278" y="681703"/>
                      <a:pt x="1003284" y="797572"/>
                      <a:pt x="1127796" y="815992"/>
                    </a:cubicBezTo>
                    <a:cubicBezTo>
                      <a:pt x="1252308" y="834411"/>
                      <a:pt x="1368177" y="748406"/>
                      <a:pt x="1386597" y="623894"/>
                    </a:cubicBezTo>
                    <a:cubicBezTo>
                      <a:pt x="1405016" y="499382"/>
                      <a:pt x="1319011" y="383512"/>
                      <a:pt x="1194499" y="365093"/>
                    </a:cubicBezTo>
                    <a:cubicBezTo>
                      <a:pt x="1178935" y="362790"/>
                      <a:pt x="1163506" y="362119"/>
                      <a:pt x="1148386" y="362952"/>
                    </a:cubicBezTo>
                    <a:close/>
                    <a:moveTo>
                      <a:pt x="1933314" y="185853"/>
                    </a:moveTo>
                    <a:cubicBezTo>
                      <a:pt x="1827471" y="191678"/>
                      <a:pt x="1736743" y="271145"/>
                      <a:pt x="1720626" y="380093"/>
                    </a:cubicBezTo>
                    <a:cubicBezTo>
                      <a:pt x="1702207" y="504605"/>
                      <a:pt x="1788212" y="620474"/>
                      <a:pt x="1912724" y="638894"/>
                    </a:cubicBezTo>
                    <a:cubicBezTo>
                      <a:pt x="2037236" y="657313"/>
                      <a:pt x="2153106" y="571308"/>
                      <a:pt x="2171526" y="446796"/>
                    </a:cubicBezTo>
                    <a:cubicBezTo>
                      <a:pt x="2189945" y="322284"/>
                      <a:pt x="2103940" y="206414"/>
                      <a:pt x="1979427" y="187995"/>
                    </a:cubicBezTo>
                    <a:cubicBezTo>
                      <a:pt x="1963863" y="185692"/>
                      <a:pt x="1948434" y="185021"/>
                      <a:pt x="1933314" y="185853"/>
                    </a:cubicBezTo>
                    <a:close/>
                    <a:moveTo>
                      <a:pt x="2007295" y="2006"/>
                    </a:moveTo>
                    <a:cubicBezTo>
                      <a:pt x="2072160" y="4969"/>
                      <a:pt x="2137492" y="11237"/>
                      <a:pt x="2203108" y="20944"/>
                    </a:cubicBezTo>
                    <a:cubicBezTo>
                      <a:pt x="3252974" y="176254"/>
                      <a:pt x="3978155" y="1153243"/>
                      <a:pt x="3822844" y="2203108"/>
                    </a:cubicBezTo>
                    <a:cubicBezTo>
                      <a:pt x="3667534" y="3252974"/>
                      <a:pt x="2690546" y="3978155"/>
                      <a:pt x="1640680" y="3822845"/>
                    </a:cubicBezTo>
                    <a:cubicBezTo>
                      <a:pt x="590814" y="3667534"/>
                      <a:pt x="-134367" y="2690546"/>
                      <a:pt x="20944" y="1640680"/>
                    </a:cubicBezTo>
                    <a:cubicBezTo>
                      <a:pt x="166547" y="656431"/>
                      <a:pt x="1034328" y="-42451"/>
                      <a:pt x="2007295" y="2006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03" name="Donut 5"/>
              <p:cNvSpPr/>
              <p:nvPr/>
            </p:nvSpPr>
            <p:spPr>
              <a:xfrm>
                <a:off x="3919429" y="1209323"/>
                <a:ext cx="4859446" cy="4828165"/>
              </a:xfrm>
              <a:custGeom>
                <a:avLst/>
                <a:gdLst/>
                <a:ahLst/>
                <a:cxnLst/>
                <a:rect l="l" t="t" r="r" b="b"/>
                <a:pathLst>
                  <a:path w="4176860" h="4149972">
                    <a:moveTo>
                      <a:pt x="2064046" y="370159"/>
                    </a:moveTo>
                    <a:cubicBezTo>
                      <a:pt x="1122496" y="370159"/>
                      <a:pt x="359219" y="1133436"/>
                      <a:pt x="359219" y="2074986"/>
                    </a:cubicBezTo>
                    <a:cubicBezTo>
                      <a:pt x="359219" y="3016536"/>
                      <a:pt x="1122496" y="3779813"/>
                      <a:pt x="2064046" y="3779813"/>
                    </a:cubicBezTo>
                    <a:cubicBezTo>
                      <a:pt x="3005596" y="3779813"/>
                      <a:pt x="3768873" y="3016536"/>
                      <a:pt x="3768873" y="2074986"/>
                    </a:cubicBezTo>
                    <a:cubicBezTo>
                      <a:pt x="3768873" y="1133436"/>
                      <a:pt x="3005596" y="370159"/>
                      <a:pt x="2064046" y="370159"/>
                    </a:cubicBezTo>
                    <a:close/>
                    <a:moveTo>
                      <a:pt x="1905131" y="0"/>
                    </a:moveTo>
                    <a:lnTo>
                      <a:pt x="2015307" y="655"/>
                    </a:lnTo>
                    <a:cubicBezTo>
                      <a:pt x="2043069" y="36944"/>
                      <a:pt x="2108215" y="252269"/>
                      <a:pt x="2246153" y="5246"/>
                    </a:cubicBezTo>
                    <a:lnTo>
                      <a:pt x="2346491" y="14427"/>
                    </a:lnTo>
                    <a:cubicBezTo>
                      <a:pt x="2368350" y="113455"/>
                      <a:pt x="2411853" y="251831"/>
                      <a:pt x="2571435" y="57711"/>
                    </a:cubicBezTo>
                    <a:lnTo>
                      <a:pt x="2662593" y="90501"/>
                    </a:lnTo>
                    <a:cubicBezTo>
                      <a:pt x="2678989" y="160018"/>
                      <a:pt x="2687514" y="325938"/>
                      <a:pt x="2865238" y="157395"/>
                    </a:cubicBezTo>
                    <a:lnTo>
                      <a:pt x="2964922" y="204613"/>
                    </a:lnTo>
                    <a:cubicBezTo>
                      <a:pt x="2984158" y="283310"/>
                      <a:pt x="2934536" y="440705"/>
                      <a:pt x="3164288" y="299050"/>
                    </a:cubicBezTo>
                    <a:lnTo>
                      <a:pt x="3248888" y="362008"/>
                    </a:lnTo>
                    <a:cubicBezTo>
                      <a:pt x="3231837" y="437863"/>
                      <a:pt x="3210850" y="586513"/>
                      <a:pt x="3416119" y="477430"/>
                    </a:cubicBezTo>
                    <a:lnTo>
                      <a:pt x="3494817" y="545635"/>
                    </a:lnTo>
                    <a:cubicBezTo>
                      <a:pt x="3462682" y="617556"/>
                      <a:pt x="3424646" y="815392"/>
                      <a:pt x="3652211" y="708276"/>
                    </a:cubicBezTo>
                    <a:lnTo>
                      <a:pt x="3717792" y="792876"/>
                    </a:lnTo>
                    <a:cubicBezTo>
                      <a:pt x="3613519" y="944587"/>
                      <a:pt x="3723695" y="1021536"/>
                      <a:pt x="3851578" y="970600"/>
                    </a:cubicBezTo>
                    <a:lnTo>
                      <a:pt x="3894206" y="1055856"/>
                    </a:lnTo>
                    <a:cubicBezTo>
                      <a:pt x="3840211" y="1141767"/>
                      <a:pt x="3756706" y="1280799"/>
                      <a:pt x="4003726" y="1248664"/>
                    </a:cubicBezTo>
                    <a:lnTo>
                      <a:pt x="4035861" y="1343101"/>
                    </a:lnTo>
                    <a:cubicBezTo>
                      <a:pt x="3989735" y="1411087"/>
                      <a:pt x="3859012" y="1528258"/>
                      <a:pt x="4109968" y="1552961"/>
                    </a:cubicBezTo>
                    <a:lnTo>
                      <a:pt x="4127674" y="1662481"/>
                    </a:lnTo>
                    <a:cubicBezTo>
                      <a:pt x="4038046" y="1700080"/>
                      <a:pt x="3954322" y="1855728"/>
                      <a:pt x="4163744" y="1883489"/>
                    </a:cubicBezTo>
                    <a:cubicBezTo>
                      <a:pt x="4164618" y="1917810"/>
                      <a:pt x="4171395" y="1952131"/>
                      <a:pt x="4172270" y="1986451"/>
                    </a:cubicBezTo>
                    <a:cubicBezTo>
                      <a:pt x="4052475" y="2013340"/>
                      <a:pt x="3999573" y="2177949"/>
                      <a:pt x="4176860" y="2208772"/>
                    </a:cubicBezTo>
                    <a:lnTo>
                      <a:pt x="4161777" y="2313701"/>
                    </a:lnTo>
                    <a:cubicBezTo>
                      <a:pt x="3979244" y="2345398"/>
                      <a:pt x="4007223" y="2493175"/>
                      <a:pt x="4121772" y="2534710"/>
                    </a:cubicBezTo>
                    <a:lnTo>
                      <a:pt x="4099475" y="2639641"/>
                    </a:lnTo>
                    <a:cubicBezTo>
                      <a:pt x="3905793" y="2636580"/>
                      <a:pt x="3940331" y="2792881"/>
                      <a:pt x="4022089" y="2852778"/>
                    </a:cubicBezTo>
                    <a:lnTo>
                      <a:pt x="3976838" y="2947871"/>
                    </a:lnTo>
                    <a:cubicBezTo>
                      <a:pt x="3777252" y="2908086"/>
                      <a:pt x="3815727" y="3124065"/>
                      <a:pt x="3881746" y="3145270"/>
                    </a:cubicBezTo>
                    <a:lnTo>
                      <a:pt x="3823377" y="3225934"/>
                    </a:lnTo>
                    <a:cubicBezTo>
                      <a:pt x="3607177" y="3194892"/>
                      <a:pt x="3644780" y="3364528"/>
                      <a:pt x="3684346" y="3420054"/>
                    </a:cubicBezTo>
                    <a:lnTo>
                      <a:pt x="3622700" y="3486291"/>
                    </a:lnTo>
                    <a:cubicBezTo>
                      <a:pt x="3422459" y="3423771"/>
                      <a:pt x="3415026" y="3567830"/>
                      <a:pt x="3454812" y="3650901"/>
                    </a:cubicBezTo>
                    <a:lnTo>
                      <a:pt x="3378083" y="3719760"/>
                    </a:lnTo>
                    <a:cubicBezTo>
                      <a:pt x="3191832" y="3629040"/>
                      <a:pt x="3178715" y="3766541"/>
                      <a:pt x="3187241" y="3845020"/>
                    </a:cubicBezTo>
                    <a:lnTo>
                      <a:pt x="3105265" y="3894206"/>
                    </a:lnTo>
                    <a:cubicBezTo>
                      <a:pt x="2933443" y="3785562"/>
                      <a:pt x="2893438" y="3897266"/>
                      <a:pt x="2896717" y="3987331"/>
                    </a:cubicBezTo>
                    <a:lnTo>
                      <a:pt x="2797034" y="4024057"/>
                    </a:lnTo>
                    <a:cubicBezTo>
                      <a:pt x="2666527" y="3895081"/>
                      <a:pt x="2587174" y="3994327"/>
                      <a:pt x="2576681" y="4097507"/>
                    </a:cubicBezTo>
                    <a:lnTo>
                      <a:pt x="2482245" y="4113247"/>
                    </a:lnTo>
                    <a:cubicBezTo>
                      <a:pt x="2370100" y="3966346"/>
                      <a:pt x="2283533" y="4059471"/>
                      <a:pt x="2246153" y="4144726"/>
                    </a:cubicBezTo>
                    <a:lnTo>
                      <a:pt x="2146469" y="4149972"/>
                    </a:lnTo>
                    <a:cubicBezTo>
                      <a:pt x="2063181" y="3993015"/>
                      <a:pt x="1970057" y="4081987"/>
                      <a:pt x="1922183" y="4149317"/>
                    </a:cubicBezTo>
                    <a:lnTo>
                      <a:pt x="1826434" y="4136856"/>
                    </a:lnTo>
                    <a:cubicBezTo>
                      <a:pt x="1782058" y="3931370"/>
                      <a:pt x="1625537" y="4038704"/>
                      <a:pt x="1589030" y="4100787"/>
                    </a:cubicBezTo>
                    <a:lnTo>
                      <a:pt x="1506398" y="4071275"/>
                    </a:lnTo>
                    <a:cubicBezTo>
                      <a:pt x="1496560" y="3886118"/>
                      <a:pt x="1323427" y="3937052"/>
                      <a:pt x="1266372" y="3999791"/>
                    </a:cubicBezTo>
                    <a:lnTo>
                      <a:pt x="1193576" y="3949294"/>
                    </a:lnTo>
                    <a:cubicBezTo>
                      <a:pt x="1197948" y="3783374"/>
                      <a:pt x="1088209" y="3790588"/>
                      <a:pt x="976503" y="3850922"/>
                    </a:cubicBezTo>
                    <a:lnTo>
                      <a:pt x="903052" y="3803704"/>
                    </a:lnTo>
                    <a:cubicBezTo>
                      <a:pt x="961857" y="3651119"/>
                      <a:pt x="865234" y="3592970"/>
                      <a:pt x="725327" y="3652867"/>
                    </a:cubicBezTo>
                    <a:lnTo>
                      <a:pt x="651221" y="3593845"/>
                    </a:lnTo>
                    <a:cubicBezTo>
                      <a:pt x="734508" y="3396883"/>
                      <a:pt x="573835" y="3392729"/>
                      <a:pt x="493826" y="3422022"/>
                    </a:cubicBezTo>
                    <a:lnTo>
                      <a:pt x="441361" y="3348572"/>
                    </a:lnTo>
                    <a:cubicBezTo>
                      <a:pt x="549787" y="3124503"/>
                      <a:pt x="388677" y="3156200"/>
                      <a:pt x="302329" y="3156419"/>
                    </a:cubicBezTo>
                    <a:lnTo>
                      <a:pt x="261669" y="3082312"/>
                    </a:lnTo>
                    <a:cubicBezTo>
                      <a:pt x="398733" y="2884257"/>
                      <a:pt x="258390" y="2859336"/>
                      <a:pt x="153460" y="2865894"/>
                    </a:cubicBezTo>
                    <a:lnTo>
                      <a:pt x="126572" y="2770146"/>
                    </a:lnTo>
                    <a:cubicBezTo>
                      <a:pt x="289212" y="2581053"/>
                      <a:pt x="127228" y="2569030"/>
                      <a:pt x="49842" y="2553073"/>
                    </a:cubicBezTo>
                    <a:lnTo>
                      <a:pt x="32135" y="2455357"/>
                    </a:lnTo>
                    <a:cubicBezTo>
                      <a:pt x="210953" y="2365729"/>
                      <a:pt x="116297" y="2240687"/>
                      <a:pt x="0" y="2235659"/>
                    </a:cubicBezTo>
                    <a:lnTo>
                      <a:pt x="1968" y="2114335"/>
                    </a:lnTo>
                    <a:cubicBezTo>
                      <a:pt x="172478" y="2037387"/>
                      <a:pt x="122637" y="1952567"/>
                      <a:pt x="9838" y="1899229"/>
                    </a:cubicBezTo>
                    <a:lnTo>
                      <a:pt x="21642" y="1799546"/>
                    </a:lnTo>
                    <a:cubicBezTo>
                      <a:pt x="215324" y="1746425"/>
                      <a:pt x="139469" y="1655923"/>
                      <a:pt x="53776" y="1579193"/>
                    </a:cubicBezTo>
                    <a:lnTo>
                      <a:pt x="74763" y="1484756"/>
                    </a:lnTo>
                    <a:cubicBezTo>
                      <a:pt x="162274" y="1475181"/>
                      <a:pt x="209638" y="1459709"/>
                      <a:pt x="229760" y="1437808"/>
                    </a:cubicBezTo>
                    <a:lnTo>
                      <a:pt x="243626" y="1399921"/>
                    </a:lnTo>
                    <a:cubicBezTo>
                      <a:pt x="240121" y="1363324"/>
                      <a:pt x="200397" y="1317580"/>
                      <a:pt x="163297" y="1264404"/>
                    </a:cubicBezTo>
                    <a:lnTo>
                      <a:pt x="198711" y="1183739"/>
                    </a:lnTo>
                    <a:cubicBezTo>
                      <a:pt x="285026" y="1187452"/>
                      <a:pt x="331934" y="1176009"/>
                      <a:pt x="352705" y="1153939"/>
                    </a:cubicBezTo>
                    <a:cubicBezTo>
                      <a:pt x="357463" y="1144535"/>
                      <a:pt x="362538" y="1135308"/>
                      <a:pt x="368620" y="1126651"/>
                    </a:cubicBezTo>
                    <a:cubicBezTo>
                      <a:pt x="379180" y="1082100"/>
                      <a:pt x="334047" y="1019255"/>
                      <a:pt x="310199" y="970600"/>
                    </a:cubicBezTo>
                    <a:lnTo>
                      <a:pt x="346924" y="897150"/>
                    </a:lnTo>
                    <a:cubicBezTo>
                      <a:pt x="422780" y="879005"/>
                      <a:pt x="620616" y="959233"/>
                      <a:pt x="509565" y="718769"/>
                    </a:cubicBezTo>
                    <a:lnTo>
                      <a:pt x="577770" y="650565"/>
                    </a:lnTo>
                    <a:cubicBezTo>
                      <a:pt x="825229" y="698656"/>
                      <a:pt x="730357" y="565747"/>
                      <a:pt x="729918" y="487923"/>
                    </a:cubicBezTo>
                    <a:lnTo>
                      <a:pt x="809271" y="426278"/>
                    </a:lnTo>
                    <a:cubicBezTo>
                      <a:pt x="1051484" y="543449"/>
                      <a:pt x="992679" y="371408"/>
                      <a:pt x="986996" y="293803"/>
                    </a:cubicBezTo>
                    <a:lnTo>
                      <a:pt x="1082088" y="236092"/>
                    </a:lnTo>
                    <a:cubicBezTo>
                      <a:pt x="1293696" y="385180"/>
                      <a:pt x="1292823" y="231283"/>
                      <a:pt x="1286045" y="152148"/>
                    </a:cubicBezTo>
                    <a:lnTo>
                      <a:pt x="1378515" y="118046"/>
                    </a:lnTo>
                    <a:cubicBezTo>
                      <a:pt x="1426608" y="144278"/>
                      <a:pt x="1578319" y="342333"/>
                      <a:pt x="1597556" y="47218"/>
                    </a:cubicBezTo>
                    <a:lnTo>
                      <a:pt x="1690025" y="31479"/>
                    </a:lnTo>
                    <a:cubicBezTo>
                      <a:pt x="1718117" y="58639"/>
                      <a:pt x="1763723" y="150017"/>
                      <a:pt x="1812199" y="149777"/>
                    </a:cubicBezTo>
                    <a:lnTo>
                      <a:pt x="1827866" y="147386"/>
                    </a:lnTo>
                    <a:cubicBezTo>
                      <a:pt x="1854135" y="136882"/>
                      <a:pt x="1880567" y="95417"/>
                      <a:pt x="1905131" y="0"/>
                    </a:cubicBez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0000"/>
                  </a:solidFill>
                  <a:sym typeface="Calibri"/>
                </a:endParaRPr>
              </a:p>
            </p:txBody>
          </p:sp>
          <p:grpSp>
            <p:nvGrpSpPr>
              <p:cNvPr id="404" name="Group 403"/>
              <p:cNvGrpSpPr/>
              <p:nvPr>
                <p:custDataLst>
                  <p:tags r:id="rId18"/>
                </p:custDataLst>
              </p:nvPr>
            </p:nvGrpSpPr>
            <p:grpSpPr>
              <a:xfrm>
                <a:off x="7651669" y="3442785"/>
                <a:ext cx="396784" cy="396782"/>
                <a:chOff x="5960944" y="3932869"/>
                <a:chExt cx="515748" cy="515748"/>
              </a:xfrm>
            </p:grpSpPr>
            <p:sp>
              <p:nvSpPr>
                <p:cNvPr id="433" name="Oval 432"/>
                <p:cNvSpPr/>
                <p:nvPr>
                  <p:custDataLst>
                    <p:tags r:id="rId31"/>
                  </p:custDataLst>
                </p:nvPr>
              </p:nvSpPr>
              <p:spPr>
                <a:xfrm>
                  <a:off x="5960944" y="3932869"/>
                  <a:ext cx="515748" cy="515748"/>
                </a:xfrm>
                <a:prstGeom prst="ellipse">
                  <a:avLst/>
                </a:prstGeom>
                <a:gradFill>
                  <a:gsLst>
                    <a:gs pos="0">
                      <a:schemeClr val="accent4">
                        <a:lumMod val="75000"/>
                      </a:schemeClr>
                    </a:gs>
                    <a:gs pos="50000">
                      <a:schemeClr val="accent4">
                        <a:lumMod val="60000"/>
                        <a:lumOff val="40000"/>
                      </a:schemeClr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54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  <a:sym typeface="Calibri"/>
                  </a:endParaRPr>
                </a:p>
              </p:txBody>
            </p:sp>
            <p:grpSp>
              <p:nvGrpSpPr>
                <p:cNvPr id="434" name="Group 222"/>
                <p:cNvGrpSpPr/>
                <p:nvPr>
                  <p:custDataLst>
                    <p:tags r:id="rId32"/>
                  </p:custDataLst>
                </p:nvPr>
              </p:nvGrpSpPr>
              <p:grpSpPr>
                <a:xfrm>
                  <a:off x="6049260" y="4021188"/>
                  <a:ext cx="339097" cy="339096"/>
                  <a:chOff x="4973643" y="2771766"/>
                  <a:chExt cx="329746" cy="329746"/>
                </a:xfrm>
                <a:solidFill>
                  <a:schemeClr val="accent1">
                    <a:lumMod val="60000"/>
                    <a:lumOff val="40000"/>
                  </a:schemeClr>
                </a:solidFill>
              </p:grpSpPr>
              <p:sp>
                <p:nvSpPr>
                  <p:cNvPr id="435" name="Oval 434"/>
                  <p:cNvSpPr/>
                  <p:nvPr/>
                </p:nvSpPr>
                <p:spPr>
                  <a:xfrm flipV="1">
                    <a:off x="4973643" y="2771766"/>
                    <a:ext cx="329746" cy="329746"/>
                  </a:xfrm>
                  <a:prstGeom prst="ellipse">
                    <a:avLst/>
                  </a:prstGeom>
                  <a:solidFill>
                    <a:schemeClr val="accent4">
                      <a:lumMod val="20000"/>
                      <a:lumOff val="8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rgbClr val="FFFFFF"/>
                      </a:solidFill>
                    </a:endParaRPr>
                  </a:p>
                </p:txBody>
              </p:sp>
              <p:grpSp>
                <p:nvGrpSpPr>
                  <p:cNvPr id="436" name="Group 101"/>
                  <p:cNvGrpSpPr/>
                  <p:nvPr/>
                </p:nvGrpSpPr>
                <p:grpSpPr>
                  <a:xfrm>
                    <a:off x="5008633" y="2808280"/>
                    <a:ext cx="259763" cy="256722"/>
                    <a:chOff x="2483142" y="3483768"/>
                    <a:chExt cx="1667379" cy="1647859"/>
                  </a:xfrm>
                  <a:grpFill/>
                </p:grpSpPr>
                <p:sp>
                  <p:nvSpPr>
                    <p:cNvPr id="437" name="Chord 436"/>
                    <p:cNvSpPr/>
                    <p:nvPr/>
                  </p:nvSpPr>
                  <p:spPr>
                    <a:xfrm rot="15252178">
                      <a:off x="2550314" y="3531420"/>
                      <a:ext cx="1600209" cy="1600205"/>
                    </a:xfrm>
                    <a:prstGeom prst="chord">
                      <a:avLst>
                        <a:gd name="adj1" fmla="val 2700000"/>
                        <a:gd name="adj2" fmla="val 13503586"/>
                      </a:avLst>
                    </a:prstGeom>
                    <a:solidFill>
                      <a:schemeClr val="accent4">
                        <a:lumMod val="60000"/>
                        <a:lumOff val="40000"/>
                      </a:schemeClr>
                    </a:solidFill>
                    <a:ln>
                      <a:noFill/>
                    </a:ln>
                    <a:scene3d>
                      <a:camera prst="orthographicFront"/>
                      <a:lightRig rig="threePt" dir="t"/>
                    </a:scene3d>
                    <a:sp3d>
                      <a:bevelT w="114300" prst="hardEdge"/>
                    </a:sp3d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38" name="Chord 437"/>
                    <p:cNvSpPr/>
                    <p:nvPr/>
                  </p:nvSpPr>
                  <p:spPr>
                    <a:xfrm rot="4499696">
                      <a:off x="2483146" y="3483764"/>
                      <a:ext cx="1600196" cy="1600204"/>
                    </a:xfrm>
                    <a:prstGeom prst="chord">
                      <a:avLst>
                        <a:gd name="adj1" fmla="val 2700000"/>
                        <a:gd name="adj2" fmla="val 13503586"/>
                      </a:avLst>
                    </a:prstGeom>
                    <a:solidFill>
                      <a:schemeClr val="accent4">
                        <a:lumMod val="60000"/>
                        <a:lumOff val="40000"/>
                      </a:schemeClr>
                    </a:solidFill>
                    <a:ln>
                      <a:noFill/>
                    </a:ln>
                    <a:scene3d>
                      <a:camera prst="orthographicFront"/>
                      <a:lightRig rig="threePt" dir="t"/>
                    </a:scene3d>
                    <a:sp3d>
                      <a:bevelT w="114300" prst="hardEdge"/>
                    </a:sp3d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05" name="Group 404"/>
              <p:cNvGrpSpPr/>
              <p:nvPr>
                <p:custDataLst>
                  <p:tags r:id="rId19"/>
                </p:custDataLst>
              </p:nvPr>
            </p:nvGrpSpPr>
            <p:grpSpPr>
              <a:xfrm rot="167385">
                <a:off x="6131148" y="4980658"/>
                <a:ext cx="396784" cy="396782"/>
                <a:chOff x="5960944" y="3932869"/>
                <a:chExt cx="515748" cy="515748"/>
              </a:xfrm>
            </p:grpSpPr>
            <p:sp>
              <p:nvSpPr>
                <p:cNvPr id="427" name="Oval 426"/>
                <p:cNvSpPr/>
                <p:nvPr>
                  <p:custDataLst>
                    <p:tags r:id="rId29"/>
                  </p:custDataLst>
                </p:nvPr>
              </p:nvSpPr>
              <p:spPr>
                <a:xfrm>
                  <a:off x="5960944" y="3932869"/>
                  <a:ext cx="515748" cy="515748"/>
                </a:xfrm>
                <a:prstGeom prst="ellipse">
                  <a:avLst/>
                </a:prstGeom>
                <a:gradFill>
                  <a:gsLst>
                    <a:gs pos="0">
                      <a:schemeClr val="accent4">
                        <a:lumMod val="75000"/>
                      </a:schemeClr>
                    </a:gs>
                    <a:gs pos="50000">
                      <a:schemeClr val="accent4">
                        <a:lumMod val="60000"/>
                        <a:lumOff val="40000"/>
                      </a:schemeClr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54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  <a:sym typeface="Calibri"/>
                  </a:endParaRPr>
                </a:p>
              </p:txBody>
            </p:sp>
            <p:grpSp>
              <p:nvGrpSpPr>
                <p:cNvPr id="428" name="Group 222"/>
                <p:cNvGrpSpPr/>
                <p:nvPr>
                  <p:custDataLst>
                    <p:tags r:id="rId30"/>
                  </p:custDataLst>
                </p:nvPr>
              </p:nvGrpSpPr>
              <p:grpSpPr>
                <a:xfrm>
                  <a:off x="6049260" y="4021188"/>
                  <a:ext cx="339097" cy="339096"/>
                  <a:chOff x="4973643" y="2771766"/>
                  <a:chExt cx="329746" cy="329746"/>
                </a:xfrm>
                <a:solidFill>
                  <a:schemeClr val="accent1">
                    <a:lumMod val="60000"/>
                    <a:lumOff val="40000"/>
                  </a:schemeClr>
                </a:solidFill>
              </p:grpSpPr>
              <p:sp>
                <p:nvSpPr>
                  <p:cNvPr id="429" name="Oval 428"/>
                  <p:cNvSpPr/>
                  <p:nvPr/>
                </p:nvSpPr>
                <p:spPr>
                  <a:xfrm flipV="1">
                    <a:off x="4973643" y="2771766"/>
                    <a:ext cx="329746" cy="329746"/>
                  </a:xfrm>
                  <a:prstGeom prst="ellipse">
                    <a:avLst/>
                  </a:prstGeom>
                  <a:solidFill>
                    <a:schemeClr val="accent4">
                      <a:lumMod val="20000"/>
                      <a:lumOff val="8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rgbClr val="FFFFFF"/>
                      </a:solidFill>
                    </a:endParaRPr>
                  </a:p>
                </p:txBody>
              </p:sp>
              <p:grpSp>
                <p:nvGrpSpPr>
                  <p:cNvPr id="430" name="Group 101"/>
                  <p:cNvGrpSpPr/>
                  <p:nvPr/>
                </p:nvGrpSpPr>
                <p:grpSpPr>
                  <a:xfrm>
                    <a:off x="5008633" y="2808280"/>
                    <a:ext cx="259763" cy="256722"/>
                    <a:chOff x="2483142" y="3483768"/>
                    <a:chExt cx="1667379" cy="1647859"/>
                  </a:xfrm>
                  <a:grpFill/>
                </p:grpSpPr>
                <p:sp>
                  <p:nvSpPr>
                    <p:cNvPr id="431" name="Chord 430"/>
                    <p:cNvSpPr/>
                    <p:nvPr/>
                  </p:nvSpPr>
                  <p:spPr>
                    <a:xfrm rot="15252178">
                      <a:off x="2550314" y="3531420"/>
                      <a:ext cx="1600209" cy="1600205"/>
                    </a:xfrm>
                    <a:prstGeom prst="chord">
                      <a:avLst>
                        <a:gd name="adj1" fmla="val 2700000"/>
                        <a:gd name="adj2" fmla="val 13503586"/>
                      </a:avLst>
                    </a:prstGeom>
                    <a:solidFill>
                      <a:schemeClr val="accent4">
                        <a:lumMod val="60000"/>
                        <a:lumOff val="40000"/>
                      </a:schemeClr>
                    </a:solidFill>
                    <a:ln>
                      <a:noFill/>
                    </a:ln>
                    <a:scene3d>
                      <a:camera prst="orthographicFront"/>
                      <a:lightRig rig="threePt" dir="t"/>
                    </a:scene3d>
                    <a:sp3d>
                      <a:bevelT w="114300" prst="hardEdge"/>
                    </a:sp3d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32" name="Chord 431"/>
                    <p:cNvSpPr/>
                    <p:nvPr/>
                  </p:nvSpPr>
                  <p:spPr>
                    <a:xfrm rot="4499696">
                      <a:off x="2483146" y="3483764"/>
                      <a:ext cx="1600196" cy="1600204"/>
                    </a:xfrm>
                    <a:prstGeom prst="chord">
                      <a:avLst>
                        <a:gd name="adj1" fmla="val 2700000"/>
                        <a:gd name="adj2" fmla="val 13503586"/>
                      </a:avLst>
                    </a:prstGeom>
                    <a:solidFill>
                      <a:schemeClr val="accent4">
                        <a:lumMod val="60000"/>
                        <a:lumOff val="40000"/>
                      </a:schemeClr>
                    </a:solidFill>
                    <a:ln>
                      <a:noFill/>
                    </a:ln>
                    <a:scene3d>
                      <a:camera prst="orthographicFront"/>
                      <a:lightRig rig="threePt" dir="t"/>
                    </a:scene3d>
                    <a:sp3d>
                      <a:bevelT w="114300" prst="hardEdge"/>
                    </a:sp3d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06" name="Group 405"/>
              <p:cNvGrpSpPr/>
              <p:nvPr>
                <p:custDataLst>
                  <p:tags r:id="rId20"/>
                </p:custDataLst>
              </p:nvPr>
            </p:nvGrpSpPr>
            <p:grpSpPr>
              <a:xfrm>
                <a:off x="4584365" y="3432786"/>
                <a:ext cx="396784" cy="396782"/>
                <a:chOff x="5960944" y="3932869"/>
                <a:chExt cx="515748" cy="515748"/>
              </a:xfrm>
            </p:grpSpPr>
            <p:sp>
              <p:nvSpPr>
                <p:cNvPr id="421" name="Oval 420"/>
                <p:cNvSpPr/>
                <p:nvPr>
                  <p:custDataLst>
                    <p:tags r:id="rId27"/>
                  </p:custDataLst>
                </p:nvPr>
              </p:nvSpPr>
              <p:spPr>
                <a:xfrm>
                  <a:off x="5960944" y="3932869"/>
                  <a:ext cx="515748" cy="515748"/>
                </a:xfrm>
                <a:prstGeom prst="ellipse">
                  <a:avLst/>
                </a:prstGeom>
                <a:gradFill>
                  <a:gsLst>
                    <a:gs pos="0">
                      <a:schemeClr val="accent4">
                        <a:lumMod val="75000"/>
                      </a:schemeClr>
                    </a:gs>
                    <a:gs pos="50000">
                      <a:schemeClr val="accent4">
                        <a:lumMod val="60000"/>
                        <a:lumOff val="40000"/>
                      </a:schemeClr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54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  <a:sym typeface="Calibri"/>
                  </a:endParaRPr>
                </a:p>
              </p:txBody>
            </p:sp>
            <p:grpSp>
              <p:nvGrpSpPr>
                <p:cNvPr id="422" name="Group 222"/>
                <p:cNvGrpSpPr/>
                <p:nvPr>
                  <p:custDataLst>
                    <p:tags r:id="rId28"/>
                  </p:custDataLst>
                </p:nvPr>
              </p:nvGrpSpPr>
              <p:grpSpPr>
                <a:xfrm>
                  <a:off x="6049260" y="4021188"/>
                  <a:ext cx="339097" cy="339096"/>
                  <a:chOff x="4973643" y="2771766"/>
                  <a:chExt cx="329746" cy="329746"/>
                </a:xfrm>
                <a:solidFill>
                  <a:schemeClr val="accent1">
                    <a:lumMod val="60000"/>
                    <a:lumOff val="40000"/>
                  </a:schemeClr>
                </a:solidFill>
              </p:grpSpPr>
              <p:sp>
                <p:nvSpPr>
                  <p:cNvPr id="423" name="Oval 422"/>
                  <p:cNvSpPr/>
                  <p:nvPr/>
                </p:nvSpPr>
                <p:spPr>
                  <a:xfrm flipV="1">
                    <a:off x="4973643" y="2771766"/>
                    <a:ext cx="329746" cy="329746"/>
                  </a:xfrm>
                  <a:prstGeom prst="ellipse">
                    <a:avLst/>
                  </a:prstGeom>
                  <a:solidFill>
                    <a:schemeClr val="accent4">
                      <a:lumMod val="20000"/>
                      <a:lumOff val="8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rgbClr val="FFFFFF"/>
                      </a:solidFill>
                    </a:endParaRPr>
                  </a:p>
                </p:txBody>
              </p:sp>
              <p:grpSp>
                <p:nvGrpSpPr>
                  <p:cNvPr id="424" name="Group 101"/>
                  <p:cNvGrpSpPr/>
                  <p:nvPr/>
                </p:nvGrpSpPr>
                <p:grpSpPr>
                  <a:xfrm>
                    <a:off x="5008633" y="2808280"/>
                    <a:ext cx="259763" cy="256722"/>
                    <a:chOff x="2483142" y="3483768"/>
                    <a:chExt cx="1667379" cy="1647859"/>
                  </a:xfrm>
                  <a:grpFill/>
                </p:grpSpPr>
                <p:sp>
                  <p:nvSpPr>
                    <p:cNvPr id="425" name="Chord 424"/>
                    <p:cNvSpPr/>
                    <p:nvPr/>
                  </p:nvSpPr>
                  <p:spPr>
                    <a:xfrm rot="15252178">
                      <a:off x="2550314" y="3531420"/>
                      <a:ext cx="1600209" cy="1600205"/>
                    </a:xfrm>
                    <a:prstGeom prst="chord">
                      <a:avLst>
                        <a:gd name="adj1" fmla="val 2700000"/>
                        <a:gd name="adj2" fmla="val 13503586"/>
                      </a:avLst>
                    </a:prstGeom>
                    <a:solidFill>
                      <a:schemeClr val="accent4">
                        <a:lumMod val="60000"/>
                        <a:lumOff val="40000"/>
                      </a:schemeClr>
                    </a:solidFill>
                    <a:ln>
                      <a:noFill/>
                    </a:ln>
                    <a:scene3d>
                      <a:camera prst="orthographicFront"/>
                      <a:lightRig rig="threePt" dir="t"/>
                    </a:scene3d>
                    <a:sp3d>
                      <a:bevelT w="114300" prst="hardEdge"/>
                    </a:sp3d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26" name="Chord 425"/>
                    <p:cNvSpPr/>
                    <p:nvPr/>
                  </p:nvSpPr>
                  <p:spPr>
                    <a:xfrm rot="4499696">
                      <a:off x="2483146" y="3483764"/>
                      <a:ext cx="1600196" cy="1600204"/>
                    </a:xfrm>
                    <a:prstGeom prst="chord">
                      <a:avLst>
                        <a:gd name="adj1" fmla="val 2700000"/>
                        <a:gd name="adj2" fmla="val 13503586"/>
                      </a:avLst>
                    </a:prstGeom>
                    <a:solidFill>
                      <a:schemeClr val="accent4">
                        <a:lumMod val="60000"/>
                        <a:lumOff val="40000"/>
                      </a:schemeClr>
                    </a:solidFill>
                    <a:ln>
                      <a:noFill/>
                    </a:ln>
                    <a:scene3d>
                      <a:camera prst="orthographicFront"/>
                      <a:lightRig rig="threePt" dir="t"/>
                    </a:scene3d>
                    <a:sp3d>
                      <a:bevelT w="114300" prst="hardEdge"/>
                    </a:sp3d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07" name="Group 406"/>
              <p:cNvGrpSpPr/>
              <p:nvPr>
                <p:custDataLst>
                  <p:tags r:id="rId21"/>
                </p:custDataLst>
              </p:nvPr>
            </p:nvGrpSpPr>
            <p:grpSpPr>
              <a:xfrm rot="21402119">
                <a:off x="6144381" y="1918645"/>
                <a:ext cx="396784" cy="396782"/>
                <a:chOff x="5960944" y="3932869"/>
                <a:chExt cx="515748" cy="515748"/>
              </a:xfrm>
            </p:grpSpPr>
            <p:sp>
              <p:nvSpPr>
                <p:cNvPr id="415" name="Oval 414"/>
                <p:cNvSpPr/>
                <p:nvPr>
                  <p:custDataLst>
                    <p:tags r:id="rId25"/>
                  </p:custDataLst>
                </p:nvPr>
              </p:nvSpPr>
              <p:spPr>
                <a:xfrm>
                  <a:off x="5960944" y="3932869"/>
                  <a:ext cx="515748" cy="515748"/>
                </a:xfrm>
                <a:prstGeom prst="ellipse">
                  <a:avLst/>
                </a:prstGeom>
                <a:gradFill>
                  <a:gsLst>
                    <a:gs pos="0">
                      <a:schemeClr val="accent4">
                        <a:lumMod val="75000"/>
                      </a:schemeClr>
                    </a:gs>
                    <a:gs pos="50000">
                      <a:schemeClr val="accent4">
                        <a:lumMod val="60000"/>
                        <a:lumOff val="40000"/>
                      </a:schemeClr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54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  <a:sym typeface="Calibri"/>
                  </a:endParaRPr>
                </a:p>
              </p:txBody>
            </p:sp>
            <p:grpSp>
              <p:nvGrpSpPr>
                <p:cNvPr id="416" name="Group 222"/>
                <p:cNvGrpSpPr/>
                <p:nvPr>
                  <p:custDataLst>
                    <p:tags r:id="rId26"/>
                  </p:custDataLst>
                </p:nvPr>
              </p:nvGrpSpPr>
              <p:grpSpPr>
                <a:xfrm>
                  <a:off x="6049260" y="4021188"/>
                  <a:ext cx="339097" cy="339096"/>
                  <a:chOff x="4973643" y="2771766"/>
                  <a:chExt cx="329746" cy="329746"/>
                </a:xfrm>
                <a:solidFill>
                  <a:schemeClr val="accent1">
                    <a:lumMod val="60000"/>
                    <a:lumOff val="40000"/>
                  </a:schemeClr>
                </a:solidFill>
              </p:grpSpPr>
              <p:sp>
                <p:nvSpPr>
                  <p:cNvPr id="417" name="Oval 416"/>
                  <p:cNvSpPr/>
                  <p:nvPr/>
                </p:nvSpPr>
                <p:spPr>
                  <a:xfrm flipV="1">
                    <a:off x="4973643" y="2771766"/>
                    <a:ext cx="329746" cy="329746"/>
                  </a:xfrm>
                  <a:prstGeom prst="ellipse">
                    <a:avLst/>
                  </a:prstGeom>
                  <a:solidFill>
                    <a:schemeClr val="accent4">
                      <a:lumMod val="20000"/>
                      <a:lumOff val="8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rgbClr val="FFFFFF"/>
                      </a:solidFill>
                    </a:endParaRPr>
                  </a:p>
                </p:txBody>
              </p:sp>
              <p:grpSp>
                <p:nvGrpSpPr>
                  <p:cNvPr id="418" name="Group 101"/>
                  <p:cNvGrpSpPr/>
                  <p:nvPr/>
                </p:nvGrpSpPr>
                <p:grpSpPr>
                  <a:xfrm>
                    <a:off x="5008631" y="2808281"/>
                    <a:ext cx="259763" cy="256720"/>
                    <a:chOff x="2483139" y="3483779"/>
                    <a:chExt cx="1667382" cy="1647848"/>
                  </a:xfrm>
                  <a:grpFill/>
                </p:grpSpPr>
                <p:sp>
                  <p:nvSpPr>
                    <p:cNvPr id="419" name="Chord 418"/>
                    <p:cNvSpPr/>
                    <p:nvPr/>
                  </p:nvSpPr>
                  <p:spPr>
                    <a:xfrm rot="15252178">
                      <a:off x="2550314" y="3531420"/>
                      <a:ext cx="1600209" cy="1600205"/>
                    </a:xfrm>
                    <a:prstGeom prst="chord">
                      <a:avLst>
                        <a:gd name="adj1" fmla="val 2700000"/>
                        <a:gd name="adj2" fmla="val 13503586"/>
                      </a:avLst>
                    </a:prstGeom>
                    <a:solidFill>
                      <a:schemeClr val="accent4">
                        <a:lumMod val="60000"/>
                        <a:lumOff val="40000"/>
                      </a:schemeClr>
                    </a:solidFill>
                    <a:ln>
                      <a:noFill/>
                    </a:ln>
                    <a:scene3d>
                      <a:camera prst="orthographicFront"/>
                      <a:lightRig rig="threePt" dir="t"/>
                    </a:scene3d>
                    <a:sp3d>
                      <a:bevelT w="114300" prst="hardEdge"/>
                    </a:sp3d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20" name="Chord 419"/>
                    <p:cNvSpPr/>
                    <p:nvPr/>
                  </p:nvSpPr>
                  <p:spPr>
                    <a:xfrm rot="4499696">
                      <a:off x="2483144" y="3483774"/>
                      <a:ext cx="1600197" cy="1600208"/>
                    </a:xfrm>
                    <a:prstGeom prst="chord">
                      <a:avLst>
                        <a:gd name="adj1" fmla="val 2700000"/>
                        <a:gd name="adj2" fmla="val 13503586"/>
                      </a:avLst>
                    </a:prstGeom>
                    <a:solidFill>
                      <a:schemeClr val="accent4">
                        <a:lumMod val="60000"/>
                        <a:lumOff val="40000"/>
                      </a:schemeClr>
                    </a:solidFill>
                    <a:ln>
                      <a:noFill/>
                    </a:ln>
                    <a:scene3d>
                      <a:camera prst="orthographicFront"/>
                      <a:lightRig rig="threePt" dir="t"/>
                    </a:scene3d>
                    <a:sp3d>
                      <a:bevelT w="114300" prst="hardEdge"/>
                    </a:sp3d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08" name="Group 407"/>
              <p:cNvGrpSpPr/>
              <p:nvPr>
                <p:custDataLst>
                  <p:tags r:id="rId22"/>
                </p:custDataLst>
              </p:nvPr>
            </p:nvGrpSpPr>
            <p:grpSpPr>
              <a:xfrm>
                <a:off x="6122036" y="3430593"/>
                <a:ext cx="396784" cy="396782"/>
                <a:chOff x="5960944" y="3932869"/>
                <a:chExt cx="515748" cy="515748"/>
              </a:xfrm>
            </p:grpSpPr>
            <p:sp>
              <p:nvSpPr>
                <p:cNvPr id="409" name="Oval 408"/>
                <p:cNvSpPr/>
                <p:nvPr>
                  <p:custDataLst>
                    <p:tags r:id="rId23"/>
                  </p:custDataLst>
                </p:nvPr>
              </p:nvSpPr>
              <p:spPr>
                <a:xfrm>
                  <a:off x="5960944" y="3932869"/>
                  <a:ext cx="515748" cy="515748"/>
                </a:xfrm>
                <a:prstGeom prst="ellipse">
                  <a:avLst/>
                </a:prstGeom>
                <a:gradFill>
                  <a:gsLst>
                    <a:gs pos="0">
                      <a:schemeClr val="accent4">
                        <a:lumMod val="75000"/>
                      </a:schemeClr>
                    </a:gs>
                    <a:gs pos="50000">
                      <a:schemeClr val="accent4">
                        <a:lumMod val="60000"/>
                        <a:lumOff val="40000"/>
                      </a:schemeClr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54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  <a:sym typeface="Calibri"/>
                  </a:endParaRPr>
                </a:p>
              </p:txBody>
            </p:sp>
            <p:grpSp>
              <p:nvGrpSpPr>
                <p:cNvPr id="410" name="Group 222"/>
                <p:cNvGrpSpPr/>
                <p:nvPr>
                  <p:custDataLst>
                    <p:tags r:id="rId24"/>
                  </p:custDataLst>
                </p:nvPr>
              </p:nvGrpSpPr>
              <p:grpSpPr>
                <a:xfrm>
                  <a:off x="6049260" y="4021188"/>
                  <a:ext cx="339097" cy="339096"/>
                  <a:chOff x="4973643" y="2771766"/>
                  <a:chExt cx="329746" cy="329746"/>
                </a:xfrm>
                <a:solidFill>
                  <a:schemeClr val="accent1">
                    <a:lumMod val="60000"/>
                    <a:lumOff val="40000"/>
                  </a:schemeClr>
                </a:solidFill>
              </p:grpSpPr>
              <p:sp>
                <p:nvSpPr>
                  <p:cNvPr id="411" name="Oval 410"/>
                  <p:cNvSpPr/>
                  <p:nvPr/>
                </p:nvSpPr>
                <p:spPr>
                  <a:xfrm flipV="1">
                    <a:off x="4973643" y="2771766"/>
                    <a:ext cx="329746" cy="329746"/>
                  </a:xfrm>
                  <a:prstGeom prst="ellipse">
                    <a:avLst/>
                  </a:prstGeom>
                  <a:solidFill>
                    <a:schemeClr val="accent4">
                      <a:lumMod val="20000"/>
                      <a:lumOff val="8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rgbClr val="FFFFFF"/>
                      </a:solidFill>
                    </a:endParaRPr>
                  </a:p>
                </p:txBody>
              </p:sp>
              <p:grpSp>
                <p:nvGrpSpPr>
                  <p:cNvPr id="412" name="Group 101"/>
                  <p:cNvGrpSpPr/>
                  <p:nvPr/>
                </p:nvGrpSpPr>
                <p:grpSpPr>
                  <a:xfrm>
                    <a:off x="5008633" y="2808280"/>
                    <a:ext cx="259763" cy="256722"/>
                    <a:chOff x="2483142" y="3483768"/>
                    <a:chExt cx="1667379" cy="1647859"/>
                  </a:xfrm>
                  <a:grpFill/>
                </p:grpSpPr>
                <p:sp>
                  <p:nvSpPr>
                    <p:cNvPr id="413" name="Chord 412"/>
                    <p:cNvSpPr/>
                    <p:nvPr/>
                  </p:nvSpPr>
                  <p:spPr>
                    <a:xfrm rot="15252178">
                      <a:off x="2550314" y="3531420"/>
                      <a:ext cx="1600209" cy="1600205"/>
                    </a:xfrm>
                    <a:prstGeom prst="chord">
                      <a:avLst>
                        <a:gd name="adj1" fmla="val 2700000"/>
                        <a:gd name="adj2" fmla="val 13503586"/>
                      </a:avLst>
                    </a:prstGeom>
                    <a:solidFill>
                      <a:schemeClr val="accent4">
                        <a:lumMod val="60000"/>
                        <a:lumOff val="40000"/>
                      </a:schemeClr>
                    </a:solidFill>
                    <a:ln>
                      <a:noFill/>
                    </a:ln>
                    <a:scene3d>
                      <a:camera prst="orthographicFront"/>
                      <a:lightRig rig="threePt" dir="t"/>
                    </a:scene3d>
                    <a:sp3d>
                      <a:bevelT w="114300" prst="hardEdge"/>
                    </a:sp3d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14" name="Chord 413"/>
                    <p:cNvSpPr/>
                    <p:nvPr/>
                  </p:nvSpPr>
                  <p:spPr>
                    <a:xfrm rot="4499696">
                      <a:off x="2483146" y="3483764"/>
                      <a:ext cx="1600196" cy="1600204"/>
                    </a:xfrm>
                    <a:prstGeom prst="chord">
                      <a:avLst>
                        <a:gd name="adj1" fmla="val 2700000"/>
                        <a:gd name="adj2" fmla="val 13503586"/>
                      </a:avLst>
                    </a:prstGeom>
                    <a:solidFill>
                      <a:schemeClr val="accent4">
                        <a:lumMod val="60000"/>
                        <a:lumOff val="40000"/>
                      </a:schemeClr>
                    </a:solidFill>
                    <a:ln>
                      <a:noFill/>
                    </a:ln>
                    <a:scene3d>
                      <a:camera prst="orthographicFront"/>
                      <a:lightRig rig="threePt" dir="t"/>
                    </a:scene3d>
                    <a:sp3d>
                      <a:bevelT w="114300" prst="hardEdge"/>
                    </a:sp3d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3" name="Group 2"/>
            <p:cNvGrpSpPr/>
            <p:nvPr/>
          </p:nvGrpSpPr>
          <p:grpSpPr>
            <a:xfrm>
              <a:off x="4690495" y="4639669"/>
              <a:ext cx="3292754" cy="1393974"/>
              <a:chOff x="4690495" y="4639669"/>
              <a:chExt cx="3292754" cy="1393974"/>
            </a:xfrm>
          </p:grpSpPr>
          <p:pic>
            <p:nvPicPr>
              <p:cNvPr id="1034" name="Picture 10"/>
              <p:cNvPicPr>
                <a:picLocks noChangeAspect="1" noChangeArrowheads="1"/>
              </p:cNvPicPr>
              <p:nvPr/>
            </p:nvPicPr>
            <p:blipFill>
              <a:blip r:embed="rId4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90495" y="4639669"/>
                <a:ext cx="1268980" cy="13500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47" name="Picture 3"/>
              <p:cNvPicPr>
                <a:picLocks noChangeAspect="1" noChangeArrowheads="1"/>
              </p:cNvPicPr>
              <p:nvPr/>
            </p:nvPicPr>
            <p:blipFill rotWithShape="1">
              <a:blip r:embed="rId4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2570" t="36173" r="28472" b="32384"/>
              <a:stretch/>
            </p:blipFill>
            <p:spPr bwMode="auto">
              <a:xfrm>
                <a:off x="5763924" y="4724537"/>
                <a:ext cx="663071" cy="130910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363" name="Group 362"/>
              <p:cNvGrpSpPr/>
              <p:nvPr/>
            </p:nvGrpSpPr>
            <p:grpSpPr>
              <a:xfrm>
                <a:off x="7322200" y="5118879"/>
                <a:ext cx="661049" cy="656793"/>
                <a:chOff x="3919429" y="1209323"/>
                <a:chExt cx="4859446" cy="4828165"/>
              </a:xfrm>
            </p:grpSpPr>
            <p:sp>
              <p:nvSpPr>
                <p:cNvPr id="364" name="Rounded Rectangle 13"/>
                <p:cNvSpPr/>
                <p:nvPr/>
              </p:nvSpPr>
              <p:spPr>
                <a:xfrm>
                  <a:off x="4396180" y="1701512"/>
                  <a:ext cx="3843788" cy="38437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3788" h="3843789">
                      <a:moveTo>
                        <a:pt x="1919761" y="3250577"/>
                      </a:moveTo>
                      <a:cubicBezTo>
                        <a:pt x="1813918" y="3256402"/>
                        <a:pt x="1723191" y="3335868"/>
                        <a:pt x="1707074" y="3444816"/>
                      </a:cubicBezTo>
                      <a:cubicBezTo>
                        <a:pt x="1688654" y="3569329"/>
                        <a:pt x="1774660" y="3685198"/>
                        <a:pt x="1899172" y="3703618"/>
                      </a:cubicBezTo>
                      <a:cubicBezTo>
                        <a:pt x="2023684" y="3722037"/>
                        <a:pt x="2139554" y="3636032"/>
                        <a:pt x="2157973" y="3511519"/>
                      </a:cubicBezTo>
                      <a:cubicBezTo>
                        <a:pt x="2176393" y="3387008"/>
                        <a:pt x="2090387" y="3271138"/>
                        <a:pt x="1965875" y="3252718"/>
                      </a:cubicBezTo>
                      <a:cubicBezTo>
                        <a:pt x="1950311" y="3250416"/>
                        <a:pt x="1934882" y="3249745"/>
                        <a:pt x="1919761" y="3250577"/>
                      </a:cubicBezTo>
                      <a:close/>
                      <a:moveTo>
                        <a:pt x="1136654" y="3061426"/>
                      </a:moveTo>
                      <a:cubicBezTo>
                        <a:pt x="1030811" y="3067250"/>
                        <a:pt x="940083" y="3146717"/>
                        <a:pt x="923966" y="3255665"/>
                      </a:cubicBezTo>
                      <a:cubicBezTo>
                        <a:pt x="905547" y="3380177"/>
                        <a:pt x="991552" y="3496046"/>
                        <a:pt x="1116064" y="3514466"/>
                      </a:cubicBezTo>
                      <a:cubicBezTo>
                        <a:pt x="1240576" y="3532885"/>
                        <a:pt x="1356446" y="3446880"/>
                        <a:pt x="1374865" y="3322368"/>
                      </a:cubicBezTo>
                      <a:cubicBezTo>
                        <a:pt x="1393285" y="3197856"/>
                        <a:pt x="1307279" y="3081986"/>
                        <a:pt x="1182767" y="3063567"/>
                      </a:cubicBezTo>
                      <a:cubicBezTo>
                        <a:pt x="1167203" y="3061264"/>
                        <a:pt x="1151774" y="3060594"/>
                        <a:pt x="1136654" y="3061426"/>
                      </a:cubicBezTo>
                      <a:close/>
                      <a:moveTo>
                        <a:pt x="2684754" y="3060058"/>
                      </a:moveTo>
                      <a:cubicBezTo>
                        <a:pt x="2578910" y="3065883"/>
                        <a:pt x="2488183" y="3145349"/>
                        <a:pt x="2472066" y="3254297"/>
                      </a:cubicBezTo>
                      <a:cubicBezTo>
                        <a:pt x="2453646" y="3378809"/>
                        <a:pt x="2539652" y="3494679"/>
                        <a:pt x="2664164" y="3513098"/>
                      </a:cubicBezTo>
                      <a:cubicBezTo>
                        <a:pt x="2788676" y="3531518"/>
                        <a:pt x="2904546" y="3445512"/>
                        <a:pt x="2922965" y="3321000"/>
                      </a:cubicBezTo>
                      <a:cubicBezTo>
                        <a:pt x="2941385" y="3196488"/>
                        <a:pt x="2855379" y="3080619"/>
                        <a:pt x="2730867" y="3062199"/>
                      </a:cubicBezTo>
                      <a:cubicBezTo>
                        <a:pt x="2715303" y="3059897"/>
                        <a:pt x="2699874" y="3059226"/>
                        <a:pt x="2684754" y="3060058"/>
                      </a:cubicBezTo>
                      <a:close/>
                      <a:moveTo>
                        <a:pt x="3231159" y="2481155"/>
                      </a:moveTo>
                      <a:cubicBezTo>
                        <a:pt x="3125316" y="2486980"/>
                        <a:pt x="3034589" y="2566447"/>
                        <a:pt x="3018472" y="2675395"/>
                      </a:cubicBezTo>
                      <a:cubicBezTo>
                        <a:pt x="3000052" y="2799907"/>
                        <a:pt x="3086058" y="2915776"/>
                        <a:pt x="3210570" y="2934196"/>
                      </a:cubicBezTo>
                      <a:cubicBezTo>
                        <a:pt x="3335082" y="2952615"/>
                        <a:pt x="3450951" y="2866610"/>
                        <a:pt x="3469371" y="2742098"/>
                      </a:cubicBezTo>
                      <a:cubicBezTo>
                        <a:pt x="3487790" y="2617586"/>
                        <a:pt x="3401785" y="2501716"/>
                        <a:pt x="3277273" y="2483297"/>
                      </a:cubicBezTo>
                      <a:cubicBezTo>
                        <a:pt x="3261709" y="2480994"/>
                        <a:pt x="3246280" y="2480323"/>
                        <a:pt x="3231159" y="2481155"/>
                      </a:cubicBezTo>
                      <a:close/>
                      <a:moveTo>
                        <a:pt x="584536" y="2475536"/>
                      </a:moveTo>
                      <a:cubicBezTo>
                        <a:pt x="478693" y="2481360"/>
                        <a:pt x="387966" y="2560827"/>
                        <a:pt x="371849" y="2669775"/>
                      </a:cubicBezTo>
                      <a:cubicBezTo>
                        <a:pt x="353429" y="2794287"/>
                        <a:pt x="439435" y="2910156"/>
                        <a:pt x="563947" y="2928576"/>
                      </a:cubicBezTo>
                      <a:cubicBezTo>
                        <a:pt x="688459" y="2946995"/>
                        <a:pt x="804328" y="2860990"/>
                        <a:pt x="822748" y="2736478"/>
                      </a:cubicBezTo>
                      <a:cubicBezTo>
                        <a:pt x="841167" y="2611966"/>
                        <a:pt x="755162" y="2496096"/>
                        <a:pt x="630650" y="2477677"/>
                      </a:cubicBezTo>
                      <a:cubicBezTo>
                        <a:pt x="615086" y="2475374"/>
                        <a:pt x="599657" y="2474703"/>
                        <a:pt x="584536" y="2475536"/>
                      </a:cubicBezTo>
                      <a:close/>
                      <a:moveTo>
                        <a:pt x="3439305" y="1711227"/>
                      </a:moveTo>
                      <a:cubicBezTo>
                        <a:pt x="3333462" y="1717051"/>
                        <a:pt x="3242735" y="1796518"/>
                        <a:pt x="3226618" y="1905466"/>
                      </a:cubicBezTo>
                      <a:cubicBezTo>
                        <a:pt x="3208198" y="2029978"/>
                        <a:pt x="3294204" y="2145848"/>
                        <a:pt x="3418716" y="2164267"/>
                      </a:cubicBezTo>
                      <a:cubicBezTo>
                        <a:pt x="3543228" y="2182687"/>
                        <a:pt x="3659097" y="2096681"/>
                        <a:pt x="3677517" y="1972169"/>
                      </a:cubicBezTo>
                      <a:cubicBezTo>
                        <a:pt x="3695936" y="1847657"/>
                        <a:pt x="3609931" y="1731787"/>
                        <a:pt x="3485419" y="1713368"/>
                      </a:cubicBezTo>
                      <a:cubicBezTo>
                        <a:pt x="3469855" y="1711065"/>
                        <a:pt x="3454426" y="1710395"/>
                        <a:pt x="3439305" y="1711227"/>
                      </a:cubicBezTo>
                      <a:close/>
                      <a:moveTo>
                        <a:pt x="374138" y="1703344"/>
                      </a:moveTo>
                      <a:cubicBezTo>
                        <a:pt x="268295" y="1709168"/>
                        <a:pt x="177568" y="1788635"/>
                        <a:pt x="161451" y="1897583"/>
                      </a:cubicBezTo>
                      <a:cubicBezTo>
                        <a:pt x="143031" y="2022095"/>
                        <a:pt x="229037" y="2137964"/>
                        <a:pt x="353549" y="2156384"/>
                      </a:cubicBezTo>
                      <a:cubicBezTo>
                        <a:pt x="478061" y="2174803"/>
                        <a:pt x="593930" y="2088798"/>
                        <a:pt x="612350" y="1964286"/>
                      </a:cubicBezTo>
                      <a:cubicBezTo>
                        <a:pt x="630769" y="1839774"/>
                        <a:pt x="544764" y="1723904"/>
                        <a:pt x="420252" y="1705485"/>
                      </a:cubicBezTo>
                      <a:cubicBezTo>
                        <a:pt x="404688" y="1703182"/>
                        <a:pt x="389259" y="1702511"/>
                        <a:pt x="374138" y="1703344"/>
                      </a:cubicBezTo>
                      <a:close/>
                      <a:moveTo>
                        <a:pt x="1900327" y="1537267"/>
                      </a:moveTo>
                      <a:cubicBezTo>
                        <a:pt x="1925881" y="1535860"/>
                        <a:pt x="1951956" y="1536994"/>
                        <a:pt x="1978259" y="1540885"/>
                      </a:cubicBezTo>
                      <a:cubicBezTo>
                        <a:pt x="2188685" y="1572014"/>
                        <a:pt x="2334034" y="1767834"/>
                        <a:pt x="2302905" y="1978260"/>
                      </a:cubicBezTo>
                      <a:cubicBezTo>
                        <a:pt x="2271776" y="2188686"/>
                        <a:pt x="2075957" y="2334035"/>
                        <a:pt x="1865531" y="2302906"/>
                      </a:cubicBezTo>
                      <a:cubicBezTo>
                        <a:pt x="1655105" y="2271777"/>
                        <a:pt x="1509756" y="2075957"/>
                        <a:pt x="1540885" y="1865531"/>
                      </a:cubicBezTo>
                      <a:cubicBezTo>
                        <a:pt x="1568123" y="1681408"/>
                        <a:pt x="1721452" y="1547110"/>
                        <a:pt x="1900327" y="1537267"/>
                      </a:cubicBezTo>
                      <a:close/>
                      <a:moveTo>
                        <a:pt x="1964876" y="955637"/>
                      </a:moveTo>
                      <a:cubicBezTo>
                        <a:pt x="1475193" y="933263"/>
                        <a:pt x="1038448" y="1285002"/>
                        <a:pt x="965168" y="1780362"/>
                      </a:cubicBezTo>
                      <a:cubicBezTo>
                        <a:pt x="887002" y="2308747"/>
                        <a:pt x="1251977" y="2800454"/>
                        <a:pt x="1780362" y="2878620"/>
                      </a:cubicBezTo>
                      <a:cubicBezTo>
                        <a:pt x="2308747" y="2956786"/>
                        <a:pt x="2800454" y="2591811"/>
                        <a:pt x="2878620" y="2063426"/>
                      </a:cubicBezTo>
                      <a:cubicBezTo>
                        <a:pt x="2956786" y="1535041"/>
                        <a:pt x="2591811" y="1043334"/>
                        <a:pt x="2063426" y="965168"/>
                      </a:cubicBezTo>
                      <a:cubicBezTo>
                        <a:pt x="2030402" y="960283"/>
                        <a:pt x="1997521" y="957129"/>
                        <a:pt x="1964876" y="955637"/>
                      </a:cubicBezTo>
                      <a:close/>
                      <a:moveTo>
                        <a:pt x="3228333" y="942917"/>
                      </a:moveTo>
                      <a:cubicBezTo>
                        <a:pt x="3122490" y="948741"/>
                        <a:pt x="3031762" y="1028208"/>
                        <a:pt x="3015645" y="1137156"/>
                      </a:cubicBezTo>
                      <a:cubicBezTo>
                        <a:pt x="2997226" y="1261668"/>
                        <a:pt x="3083231" y="1377537"/>
                        <a:pt x="3207743" y="1395957"/>
                      </a:cubicBezTo>
                      <a:cubicBezTo>
                        <a:pt x="3332256" y="1414376"/>
                        <a:pt x="3448125" y="1328371"/>
                        <a:pt x="3466545" y="1203859"/>
                      </a:cubicBezTo>
                      <a:cubicBezTo>
                        <a:pt x="3484964" y="1079347"/>
                        <a:pt x="3398959" y="963477"/>
                        <a:pt x="3274446" y="945058"/>
                      </a:cubicBezTo>
                      <a:cubicBezTo>
                        <a:pt x="3258882" y="942755"/>
                        <a:pt x="3243453" y="942085"/>
                        <a:pt x="3228333" y="942917"/>
                      </a:cubicBezTo>
                      <a:close/>
                      <a:moveTo>
                        <a:pt x="583340" y="926277"/>
                      </a:moveTo>
                      <a:cubicBezTo>
                        <a:pt x="477497" y="932102"/>
                        <a:pt x="386770" y="1011568"/>
                        <a:pt x="370653" y="1120517"/>
                      </a:cubicBezTo>
                      <a:cubicBezTo>
                        <a:pt x="352233" y="1245029"/>
                        <a:pt x="438238" y="1360898"/>
                        <a:pt x="562751" y="1379318"/>
                      </a:cubicBezTo>
                      <a:cubicBezTo>
                        <a:pt x="687263" y="1397737"/>
                        <a:pt x="803132" y="1311732"/>
                        <a:pt x="821552" y="1187220"/>
                      </a:cubicBezTo>
                      <a:cubicBezTo>
                        <a:pt x="839971" y="1062708"/>
                        <a:pt x="753966" y="946838"/>
                        <a:pt x="629454" y="928419"/>
                      </a:cubicBezTo>
                      <a:cubicBezTo>
                        <a:pt x="613890" y="926116"/>
                        <a:pt x="598461" y="925445"/>
                        <a:pt x="583340" y="926277"/>
                      </a:cubicBezTo>
                      <a:close/>
                      <a:moveTo>
                        <a:pt x="2684162" y="380705"/>
                      </a:moveTo>
                      <a:cubicBezTo>
                        <a:pt x="2578319" y="386529"/>
                        <a:pt x="2487591" y="465996"/>
                        <a:pt x="2471474" y="574944"/>
                      </a:cubicBezTo>
                      <a:cubicBezTo>
                        <a:pt x="2453055" y="699456"/>
                        <a:pt x="2539060" y="815326"/>
                        <a:pt x="2663573" y="833745"/>
                      </a:cubicBezTo>
                      <a:cubicBezTo>
                        <a:pt x="2788084" y="852165"/>
                        <a:pt x="2903954" y="766159"/>
                        <a:pt x="2922374" y="641647"/>
                      </a:cubicBezTo>
                      <a:cubicBezTo>
                        <a:pt x="2940793" y="517135"/>
                        <a:pt x="2854788" y="401266"/>
                        <a:pt x="2730276" y="382846"/>
                      </a:cubicBezTo>
                      <a:cubicBezTo>
                        <a:pt x="2714712" y="380544"/>
                        <a:pt x="2699283" y="379873"/>
                        <a:pt x="2684162" y="380705"/>
                      </a:cubicBezTo>
                      <a:close/>
                      <a:moveTo>
                        <a:pt x="1148386" y="362952"/>
                      </a:moveTo>
                      <a:cubicBezTo>
                        <a:pt x="1042542" y="368776"/>
                        <a:pt x="951815" y="448243"/>
                        <a:pt x="935698" y="557191"/>
                      </a:cubicBezTo>
                      <a:cubicBezTo>
                        <a:pt x="917278" y="681703"/>
                        <a:pt x="1003284" y="797572"/>
                        <a:pt x="1127796" y="815992"/>
                      </a:cubicBezTo>
                      <a:cubicBezTo>
                        <a:pt x="1252308" y="834411"/>
                        <a:pt x="1368177" y="748406"/>
                        <a:pt x="1386597" y="623894"/>
                      </a:cubicBezTo>
                      <a:cubicBezTo>
                        <a:pt x="1405016" y="499382"/>
                        <a:pt x="1319011" y="383512"/>
                        <a:pt x="1194499" y="365093"/>
                      </a:cubicBezTo>
                      <a:cubicBezTo>
                        <a:pt x="1178935" y="362790"/>
                        <a:pt x="1163506" y="362119"/>
                        <a:pt x="1148386" y="362952"/>
                      </a:cubicBezTo>
                      <a:close/>
                      <a:moveTo>
                        <a:pt x="1933314" y="185853"/>
                      </a:moveTo>
                      <a:cubicBezTo>
                        <a:pt x="1827471" y="191678"/>
                        <a:pt x="1736743" y="271145"/>
                        <a:pt x="1720626" y="380093"/>
                      </a:cubicBezTo>
                      <a:cubicBezTo>
                        <a:pt x="1702207" y="504605"/>
                        <a:pt x="1788212" y="620474"/>
                        <a:pt x="1912724" y="638894"/>
                      </a:cubicBezTo>
                      <a:cubicBezTo>
                        <a:pt x="2037236" y="657313"/>
                        <a:pt x="2153106" y="571308"/>
                        <a:pt x="2171526" y="446796"/>
                      </a:cubicBezTo>
                      <a:cubicBezTo>
                        <a:pt x="2189945" y="322284"/>
                        <a:pt x="2103940" y="206414"/>
                        <a:pt x="1979427" y="187995"/>
                      </a:cubicBezTo>
                      <a:cubicBezTo>
                        <a:pt x="1963863" y="185692"/>
                        <a:pt x="1948434" y="185021"/>
                        <a:pt x="1933314" y="185853"/>
                      </a:cubicBezTo>
                      <a:close/>
                      <a:moveTo>
                        <a:pt x="2007295" y="2006"/>
                      </a:moveTo>
                      <a:cubicBezTo>
                        <a:pt x="2072160" y="4969"/>
                        <a:pt x="2137492" y="11237"/>
                        <a:pt x="2203108" y="20944"/>
                      </a:cubicBezTo>
                      <a:cubicBezTo>
                        <a:pt x="3252974" y="176254"/>
                        <a:pt x="3978155" y="1153243"/>
                        <a:pt x="3822844" y="2203108"/>
                      </a:cubicBezTo>
                      <a:cubicBezTo>
                        <a:pt x="3667534" y="3252974"/>
                        <a:pt x="2690546" y="3978155"/>
                        <a:pt x="1640680" y="3822845"/>
                      </a:cubicBezTo>
                      <a:cubicBezTo>
                        <a:pt x="590814" y="3667534"/>
                        <a:pt x="-134367" y="2690546"/>
                        <a:pt x="20944" y="1640680"/>
                      </a:cubicBezTo>
                      <a:cubicBezTo>
                        <a:pt x="166547" y="656431"/>
                        <a:pt x="1034328" y="-42451"/>
                        <a:pt x="2007295" y="2006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65" name="Donut 5"/>
                <p:cNvSpPr/>
                <p:nvPr/>
              </p:nvSpPr>
              <p:spPr>
                <a:xfrm>
                  <a:off x="3919429" y="1209323"/>
                  <a:ext cx="4859446" cy="48281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76860" h="4149972">
                      <a:moveTo>
                        <a:pt x="2064046" y="370159"/>
                      </a:moveTo>
                      <a:cubicBezTo>
                        <a:pt x="1122496" y="370159"/>
                        <a:pt x="359219" y="1133436"/>
                        <a:pt x="359219" y="2074986"/>
                      </a:cubicBezTo>
                      <a:cubicBezTo>
                        <a:pt x="359219" y="3016536"/>
                        <a:pt x="1122496" y="3779813"/>
                        <a:pt x="2064046" y="3779813"/>
                      </a:cubicBezTo>
                      <a:cubicBezTo>
                        <a:pt x="3005596" y="3779813"/>
                        <a:pt x="3768873" y="3016536"/>
                        <a:pt x="3768873" y="2074986"/>
                      </a:cubicBezTo>
                      <a:cubicBezTo>
                        <a:pt x="3768873" y="1133436"/>
                        <a:pt x="3005596" y="370159"/>
                        <a:pt x="2064046" y="370159"/>
                      </a:cubicBezTo>
                      <a:close/>
                      <a:moveTo>
                        <a:pt x="1905131" y="0"/>
                      </a:moveTo>
                      <a:lnTo>
                        <a:pt x="2015307" y="655"/>
                      </a:lnTo>
                      <a:cubicBezTo>
                        <a:pt x="2043069" y="36944"/>
                        <a:pt x="2108215" y="252269"/>
                        <a:pt x="2246153" y="5246"/>
                      </a:cubicBezTo>
                      <a:lnTo>
                        <a:pt x="2346491" y="14427"/>
                      </a:lnTo>
                      <a:cubicBezTo>
                        <a:pt x="2368350" y="113455"/>
                        <a:pt x="2411853" y="251831"/>
                        <a:pt x="2571435" y="57711"/>
                      </a:cubicBezTo>
                      <a:lnTo>
                        <a:pt x="2662593" y="90501"/>
                      </a:lnTo>
                      <a:cubicBezTo>
                        <a:pt x="2678989" y="160018"/>
                        <a:pt x="2687514" y="325938"/>
                        <a:pt x="2865238" y="157395"/>
                      </a:cubicBezTo>
                      <a:lnTo>
                        <a:pt x="2964922" y="204613"/>
                      </a:lnTo>
                      <a:cubicBezTo>
                        <a:pt x="2984158" y="283310"/>
                        <a:pt x="2934536" y="440705"/>
                        <a:pt x="3164288" y="299050"/>
                      </a:cubicBezTo>
                      <a:lnTo>
                        <a:pt x="3248888" y="362008"/>
                      </a:lnTo>
                      <a:cubicBezTo>
                        <a:pt x="3231837" y="437863"/>
                        <a:pt x="3210850" y="586513"/>
                        <a:pt x="3416119" y="477430"/>
                      </a:cubicBezTo>
                      <a:lnTo>
                        <a:pt x="3494817" y="545635"/>
                      </a:lnTo>
                      <a:cubicBezTo>
                        <a:pt x="3462682" y="617556"/>
                        <a:pt x="3424646" y="815392"/>
                        <a:pt x="3652211" y="708276"/>
                      </a:cubicBezTo>
                      <a:lnTo>
                        <a:pt x="3717792" y="792876"/>
                      </a:lnTo>
                      <a:cubicBezTo>
                        <a:pt x="3613519" y="944587"/>
                        <a:pt x="3723695" y="1021536"/>
                        <a:pt x="3851578" y="970600"/>
                      </a:cubicBezTo>
                      <a:lnTo>
                        <a:pt x="3894206" y="1055856"/>
                      </a:lnTo>
                      <a:cubicBezTo>
                        <a:pt x="3840211" y="1141767"/>
                        <a:pt x="3756706" y="1280799"/>
                        <a:pt x="4003726" y="1248664"/>
                      </a:cubicBezTo>
                      <a:lnTo>
                        <a:pt x="4035861" y="1343101"/>
                      </a:lnTo>
                      <a:cubicBezTo>
                        <a:pt x="3989735" y="1411087"/>
                        <a:pt x="3859012" y="1528258"/>
                        <a:pt x="4109968" y="1552961"/>
                      </a:cubicBezTo>
                      <a:lnTo>
                        <a:pt x="4127674" y="1662481"/>
                      </a:lnTo>
                      <a:cubicBezTo>
                        <a:pt x="4038046" y="1700080"/>
                        <a:pt x="3954322" y="1855728"/>
                        <a:pt x="4163744" y="1883489"/>
                      </a:cubicBezTo>
                      <a:cubicBezTo>
                        <a:pt x="4164618" y="1917810"/>
                        <a:pt x="4171395" y="1952131"/>
                        <a:pt x="4172270" y="1986451"/>
                      </a:cubicBezTo>
                      <a:cubicBezTo>
                        <a:pt x="4052475" y="2013340"/>
                        <a:pt x="3999573" y="2177949"/>
                        <a:pt x="4176860" y="2208772"/>
                      </a:cubicBezTo>
                      <a:lnTo>
                        <a:pt x="4161777" y="2313701"/>
                      </a:lnTo>
                      <a:cubicBezTo>
                        <a:pt x="3979244" y="2345398"/>
                        <a:pt x="4007223" y="2493175"/>
                        <a:pt x="4121772" y="2534710"/>
                      </a:cubicBezTo>
                      <a:lnTo>
                        <a:pt x="4099475" y="2639641"/>
                      </a:lnTo>
                      <a:cubicBezTo>
                        <a:pt x="3905793" y="2636580"/>
                        <a:pt x="3940331" y="2792881"/>
                        <a:pt x="4022089" y="2852778"/>
                      </a:cubicBezTo>
                      <a:lnTo>
                        <a:pt x="3976838" y="2947871"/>
                      </a:lnTo>
                      <a:cubicBezTo>
                        <a:pt x="3777252" y="2908086"/>
                        <a:pt x="3815727" y="3124065"/>
                        <a:pt x="3881746" y="3145270"/>
                      </a:cubicBezTo>
                      <a:lnTo>
                        <a:pt x="3823377" y="3225934"/>
                      </a:lnTo>
                      <a:cubicBezTo>
                        <a:pt x="3607177" y="3194892"/>
                        <a:pt x="3644780" y="3364528"/>
                        <a:pt x="3684346" y="3420054"/>
                      </a:cubicBezTo>
                      <a:lnTo>
                        <a:pt x="3622700" y="3486291"/>
                      </a:lnTo>
                      <a:cubicBezTo>
                        <a:pt x="3422459" y="3423771"/>
                        <a:pt x="3415026" y="3567830"/>
                        <a:pt x="3454812" y="3650901"/>
                      </a:cubicBezTo>
                      <a:lnTo>
                        <a:pt x="3378083" y="3719760"/>
                      </a:lnTo>
                      <a:cubicBezTo>
                        <a:pt x="3191832" y="3629040"/>
                        <a:pt x="3178715" y="3766541"/>
                        <a:pt x="3187241" y="3845020"/>
                      </a:cubicBezTo>
                      <a:lnTo>
                        <a:pt x="3105265" y="3894206"/>
                      </a:lnTo>
                      <a:cubicBezTo>
                        <a:pt x="2933443" y="3785562"/>
                        <a:pt x="2893438" y="3897266"/>
                        <a:pt x="2896717" y="3987331"/>
                      </a:cubicBezTo>
                      <a:lnTo>
                        <a:pt x="2797034" y="4024057"/>
                      </a:lnTo>
                      <a:cubicBezTo>
                        <a:pt x="2666527" y="3895081"/>
                        <a:pt x="2587174" y="3994327"/>
                        <a:pt x="2576681" y="4097507"/>
                      </a:cubicBezTo>
                      <a:lnTo>
                        <a:pt x="2482245" y="4113247"/>
                      </a:lnTo>
                      <a:cubicBezTo>
                        <a:pt x="2370100" y="3966346"/>
                        <a:pt x="2283533" y="4059471"/>
                        <a:pt x="2246153" y="4144726"/>
                      </a:cubicBezTo>
                      <a:lnTo>
                        <a:pt x="2146469" y="4149972"/>
                      </a:lnTo>
                      <a:cubicBezTo>
                        <a:pt x="2063181" y="3993015"/>
                        <a:pt x="1970057" y="4081987"/>
                        <a:pt x="1922183" y="4149317"/>
                      </a:cubicBezTo>
                      <a:lnTo>
                        <a:pt x="1826434" y="4136856"/>
                      </a:lnTo>
                      <a:cubicBezTo>
                        <a:pt x="1782058" y="3931370"/>
                        <a:pt x="1625537" y="4038704"/>
                        <a:pt x="1589030" y="4100787"/>
                      </a:cubicBezTo>
                      <a:lnTo>
                        <a:pt x="1506398" y="4071275"/>
                      </a:lnTo>
                      <a:cubicBezTo>
                        <a:pt x="1496560" y="3886118"/>
                        <a:pt x="1323427" y="3937052"/>
                        <a:pt x="1266372" y="3999791"/>
                      </a:cubicBezTo>
                      <a:lnTo>
                        <a:pt x="1193576" y="3949294"/>
                      </a:lnTo>
                      <a:cubicBezTo>
                        <a:pt x="1197948" y="3783374"/>
                        <a:pt x="1088209" y="3790588"/>
                        <a:pt x="976503" y="3850922"/>
                      </a:cubicBezTo>
                      <a:lnTo>
                        <a:pt x="903052" y="3803704"/>
                      </a:lnTo>
                      <a:cubicBezTo>
                        <a:pt x="961857" y="3651119"/>
                        <a:pt x="865234" y="3592970"/>
                        <a:pt x="725327" y="3652867"/>
                      </a:cubicBezTo>
                      <a:lnTo>
                        <a:pt x="651221" y="3593845"/>
                      </a:lnTo>
                      <a:cubicBezTo>
                        <a:pt x="734508" y="3396883"/>
                        <a:pt x="573835" y="3392729"/>
                        <a:pt x="493826" y="3422022"/>
                      </a:cubicBezTo>
                      <a:lnTo>
                        <a:pt x="441361" y="3348572"/>
                      </a:lnTo>
                      <a:cubicBezTo>
                        <a:pt x="549787" y="3124503"/>
                        <a:pt x="388677" y="3156200"/>
                        <a:pt x="302329" y="3156419"/>
                      </a:cubicBezTo>
                      <a:lnTo>
                        <a:pt x="261669" y="3082312"/>
                      </a:lnTo>
                      <a:cubicBezTo>
                        <a:pt x="398733" y="2884257"/>
                        <a:pt x="258390" y="2859336"/>
                        <a:pt x="153460" y="2865894"/>
                      </a:cubicBezTo>
                      <a:lnTo>
                        <a:pt x="126572" y="2770146"/>
                      </a:lnTo>
                      <a:cubicBezTo>
                        <a:pt x="289212" y="2581053"/>
                        <a:pt x="127228" y="2569030"/>
                        <a:pt x="49842" y="2553073"/>
                      </a:cubicBezTo>
                      <a:lnTo>
                        <a:pt x="32135" y="2455357"/>
                      </a:lnTo>
                      <a:cubicBezTo>
                        <a:pt x="210953" y="2365729"/>
                        <a:pt x="116297" y="2240687"/>
                        <a:pt x="0" y="2235659"/>
                      </a:cubicBezTo>
                      <a:lnTo>
                        <a:pt x="1968" y="2114335"/>
                      </a:lnTo>
                      <a:cubicBezTo>
                        <a:pt x="172478" y="2037387"/>
                        <a:pt x="122637" y="1952567"/>
                        <a:pt x="9838" y="1899229"/>
                      </a:cubicBezTo>
                      <a:lnTo>
                        <a:pt x="21642" y="1799546"/>
                      </a:lnTo>
                      <a:cubicBezTo>
                        <a:pt x="215324" y="1746425"/>
                        <a:pt x="139469" y="1655923"/>
                        <a:pt x="53776" y="1579193"/>
                      </a:cubicBezTo>
                      <a:lnTo>
                        <a:pt x="74763" y="1484756"/>
                      </a:lnTo>
                      <a:cubicBezTo>
                        <a:pt x="162274" y="1475181"/>
                        <a:pt x="209638" y="1459709"/>
                        <a:pt x="229760" y="1437808"/>
                      </a:cubicBezTo>
                      <a:lnTo>
                        <a:pt x="243626" y="1399921"/>
                      </a:lnTo>
                      <a:cubicBezTo>
                        <a:pt x="240121" y="1363324"/>
                        <a:pt x="200397" y="1317580"/>
                        <a:pt x="163297" y="1264404"/>
                      </a:cubicBezTo>
                      <a:lnTo>
                        <a:pt x="198711" y="1183739"/>
                      </a:lnTo>
                      <a:cubicBezTo>
                        <a:pt x="285026" y="1187452"/>
                        <a:pt x="331934" y="1176009"/>
                        <a:pt x="352705" y="1153939"/>
                      </a:cubicBezTo>
                      <a:cubicBezTo>
                        <a:pt x="357463" y="1144535"/>
                        <a:pt x="362538" y="1135308"/>
                        <a:pt x="368620" y="1126651"/>
                      </a:cubicBezTo>
                      <a:cubicBezTo>
                        <a:pt x="379180" y="1082100"/>
                        <a:pt x="334047" y="1019255"/>
                        <a:pt x="310199" y="970600"/>
                      </a:cubicBezTo>
                      <a:lnTo>
                        <a:pt x="346924" y="897150"/>
                      </a:lnTo>
                      <a:cubicBezTo>
                        <a:pt x="422780" y="879005"/>
                        <a:pt x="620616" y="959233"/>
                        <a:pt x="509565" y="718769"/>
                      </a:cubicBezTo>
                      <a:lnTo>
                        <a:pt x="577770" y="650565"/>
                      </a:lnTo>
                      <a:cubicBezTo>
                        <a:pt x="825229" y="698656"/>
                        <a:pt x="730357" y="565747"/>
                        <a:pt x="729918" y="487923"/>
                      </a:cubicBezTo>
                      <a:lnTo>
                        <a:pt x="809271" y="426278"/>
                      </a:lnTo>
                      <a:cubicBezTo>
                        <a:pt x="1051484" y="543449"/>
                        <a:pt x="992679" y="371408"/>
                        <a:pt x="986996" y="293803"/>
                      </a:cubicBezTo>
                      <a:lnTo>
                        <a:pt x="1082088" y="236092"/>
                      </a:lnTo>
                      <a:cubicBezTo>
                        <a:pt x="1293696" y="385180"/>
                        <a:pt x="1292823" y="231283"/>
                        <a:pt x="1286045" y="152148"/>
                      </a:cubicBezTo>
                      <a:lnTo>
                        <a:pt x="1378515" y="118046"/>
                      </a:lnTo>
                      <a:cubicBezTo>
                        <a:pt x="1426608" y="144278"/>
                        <a:pt x="1578319" y="342333"/>
                        <a:pt x="1597556" y="47218"/>
                      </a:cubicBezTo>
                      <a:lnTo>
                        <a:pt x="1690025" y="31479"/>
                      </a:lnTo>
                      <a:cubicBezTo>
                        <a:pt x="1718117" y="58639"/>
                        <a:pt x="1763723" y="150017"/>
                        <a:pt x="1812199" y="149777"/>
                      </a:cubicBezTo>
                      <a:lnTo>
                        <a:pt x="1827866" y="147386"/>
                      </a:lnTo>
                      <a:cubicBezTo>
                        <a:pt x="1854135" y="136882"/>
                        <a:pt x="1880567" y="95417"/>
                        <a:pt x="1905131" y="0"/>
                      </a:cubicBezTo>
                      <a:close/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0000"/>
                    </a:solidFill>
                    <a:sym typeface="Calibri"/>
                  </a:endParaRPr>
                </a:p>
              </p:txBody>
            </p:sp>
            <p:grpSp>
              <p:nvGrpSpPr>
                <p:cNvPr id="366" name="Group 365"/>
                <p:cNvGrpSpPr/>
                <p:nvPr>
                  <p:custDataLst>
                    <p:tags r:id="rId3"/>
                  </p:custDataLst>
                </p:nvPr>
              </p:nvGrpSpPr>
              <p:grpSpPr>
                <a:xfrm>
                  <a:off x="7651669" y="3442785"/>
                  <a:ext cx="396784" cy="396782"/>
                  <a:chOff x="5960944" y="3932869"/>
                  <a:chExt cx="515748" cy="515748"/>
                </a:xfrm>
              </p:grpSpPr>
              <p:sp>
                <p:nvSpPr>
                  <p:cNvPr id="395" name="Oval 394"/>
                  <p:cNvSpPr/>
                  <p:nvPr>
                    <p:custDataLst>
                      <p:tags r:id="rId16"/>
                    </p:custDataLst>
                  </p:nvPr>
                </p:nvSpPr>
                <p:spPr>
                  <a:xfrm>
                    <a:off x="5960944" y="3932869"/>
                    <a:ext cx="515748" cy="515748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4">
                          <a:lumMod val="75000"/>
                        </a:schemeClr>
                      </a:gs>
                      <a:gs pos="50000">
                        <a:schemeClr val="accent4">
                          <a:lumMod val="60000"/>
                          <a:lumOff val="40000"/>
                        </a:schemeClr>
                      </a:gs>
                      <a:gs pos="100000">
                        <a:schemeClr val="accent4">
                          <a:lumMod val="75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rgbClr val="FFFFFF"/>
                      </a:solidFill>
                      <a:sym typeface="Calibri"/>
                    </a:endParaRPr>
                  </a:p>
                </p:txBody>
              </p:sp>
              <p:grpSp>
                <p:nvGrpSpPr>
                  <p:cNvPr id="396" name="Group 222"/>
                  <p:cNvGrpSpPr/>
                  <p:nvPr>
                    <p:custDataLst>
                      <p:tags r:id="rId17"/>
                    </p:custDataLst>
                  </p:nvPr>
                </p:nvGrpSpPr>
                <p:grpSpPr>
                  <a:xfrm>
                    <a:off x="6049260" y="4021188"/>
                    <a:ext cx="339097" cy="339096"/>
                    <a:chOff x="4973643" y="2771766"/>
                    <a:chExt cx="329746" cy="329746"/>
                  </a:xfrm>
                  <a:solidFill>
                    <a:schemeClr val="accent1">
                      <a:lumMod val="60000"/>
                      <a:lumOff val="40000"/>
                    </a:schemeClr>
                  </a:solidFill>
                </p:grpSpPr>
                <p:sp>
                  <p:nvSpPr>
                    <p:cNvPr id="397" name="Oval 396"/>
                    <p:cNvSpPr/>
                    <p:nvPr/>
                  </p:nvSpPr>
                  <p:spPr>
                    <a:xfrm flipV="1">
                      <a:off x="4973643" y="2771766"/>
                      <a:ext cx="329746" cy="329746"/>
                    </a:xfrm>
                    <a:prstGeom prst="ellipse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398" name="Group 101"/>
                    <p:cNvGrpSpPr/>
                    <p:nvPr/>
                  </p:nvGrpSpPr>
                  <p:grpSpPr>
                    <a:xfrm>
                      <a:off x="5008633" y="2808280"/>
                      <a:ext cx="259763" cy="256722"/>
                      <a:chOff x="2483142" y="3483768"/>
                      <a:chExt cx="1667379" cy="1647859"/>
                    </a:xfrm>
                    <a:grpFill/>
                  </p:grpSpPr>
                  <p:sp>
                    <p:nvSpPr>
                      <p:cNvPr id="399" name="Chord 398"/>
                      <p:cNvSpPr/>
                      <p:nvPr/>
                    </p:nvSpPr>
                    <p:spPr>
                      <a:xfrm rot="15252178">
                        <a:off x="2550314" y="3531420"/>
                        <a:ext cx="1600209" cy="1600205"/>
                      </a:xfrm>
                      <a:prstGeom prst="chord">
                        <a:avLst>
                          <a:gd name="adj1" fmla="val 2700000"/>
                          <a:gd name="adj2" fmla="val 13503586"/>
                        </a:avLst>
                      </a:prstGeom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  <a:ln>
                        <a:noFill/>
                      </a:ln>
                      <a:scene3d>
                        <a:camera prst="orthographicFront"/>
                        <a:lightRig rig="threePt" dir="t"/>
                      </a:scene3d>
                      <a:sp3d>
                        <a:bevelT w="114300" prst="hardEdge"/>
                      </a:sp3d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dirty="0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400" name="Chord 399"/>
                      <p:cNvSpPr/>
                      <p:nvPr/>
                    </p:nvSpPr>
                    <p:spPr>
                      <a:xfrm rot="4499696">
                        <a:off x="2483146" y="3483764"/>
                        <a:ext cx="1600196" cy="1600204"/>
                      </a:xfrm>
                      <a:prstGeom prst="chord">
                        <a:avLst>
                          <a:gd name="adj1" fmla="val 2700000"/>
                          <a:gd name="adj2" fmla="val 13503586"/>
                        </a:avLst>
                      </a:prstGeom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  <a:ln>
                        <a:noFill/>
                      </a:ln>
                      <a:scene3d>
                        <a:camera prst="orthographicFront"/>
                        <a:lightRig rig="threePt" dir="t"/>
                      </a:scene3d>
                      <a:sp3d>
                        <a:bevelT w="114300" prst="hardEdge"/>
                      </a:sp3d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dirty="0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367" name="Group 366"/>
                <p:cNvGrpSpPr/>
                <p:nvPr>
                  <p:custDataLst>
                    <p:tags r:id="rId4"/>
                  </p:custDataLst>
                </p:nvPr>
              </p:nvGrpSpPr>
              <p:grpSpPr>
                <a:xfrm rot="167385">
                  <a:off x="6131148" y="4980658"/>
                  <a:ext cx="396784" cy="396782"/>
                  <a:chOff x="5960944" y="3932869"/>
                  <a:chExt cx="515748" cy="515748"/>
                </a:xfrm>
              </p:grpSpPr>
              <p:sp>
                <p:nvSpPr>
                  <p:cNvPr id="389" name="Oval 388"/>
                  <p:cNvSpPr/>
                  <p:nvPr>
                    <p:custDataLst>
                      <p:tags r:id="rId14"/>
                    </p:custDataLst>
                  </p:nvPr>
                </p:nvSpPr>
                <p:spPr>
                  <a:xfrm>
                    <a:off x="5960944" y="3932869"/>
                    <a:ext cx="515748" cy="515748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4">
                          <a:lumMod val="75000"/>
                        </a:schemeClr>
                      </a:gs>
                      <a:gs pos="50000">
                        <a:schemeClr val="accent4">
                          <a:lumMod val="60000"/>
                          <a:lumOff val="40000"/>
                        </a:schemeClr>
                      </a:gs>
                      <a:gs pos="100000">
                        <a:schemeClr val="accent4">
                          <a:lumMod val="75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rgbClr val="FFFFFF"/>
                      </a:solidFill>
                      <a:sym typeface="Calibri"/>
                    </a:endParaRPr>
                  </a:p>
                </p:txBody>
              </p:sp>
              <p:grpSp>
                <p:nvGrpSpPr>
                  <p:cNvPr id="390" name="Group 222"/>
                  <p:cNvGrpSpPr/>
                  <p:nvPr>
                    <p:custDataLst>
                      <p:tags r:id="rId15"/>
                    </p:custDataLst>
                  </p:nvPr>
                </p:nvGrpSpPr>
                <p:grpSpPr>
                  <a:xfrm>
                    <a:off x="6049260" y="4021188"/>
                    <a:ext cx="339097" cy="339096"/>
                    <a:chOff x="4973643" y="2771766"/>
                    <a:chExt cx="329746" cy="329746"/>
                  </a:xfrm>
                  <a:solidFill>
                    <a:schemeClr val="accent1">
                      <a:lumMod val="60000"/>
                      <a:lumOff val="40000"/>
                    </a:schemeClr>
                  </a:solidFill>
                </p:grpSpPr>
                <p:sp>
                  <p:nvSpPr>
                    <p:cNvPr id="391" name="Oval 390"/>
                    <p:cNvSpPr/>
                    <p:nvPr/>
                  </p:nvSpPr>
                  <p:spPr>
                    <a:xfrm flipV="1">
                      <a:off x="4973643" y="2771766"/>
                      <a:ext cx="329746" cy="329746"/>
                    </a:xfrm>
                    <a:prstGeom prst="ellipse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392" name="Group 101"/>
                    <p:cNvGrpSpPr/>
                    <p:nvPr/>
                  </p:nvGrpSpPr>
                  <p:grpSpPr>
                    <a:xfrm>
                      <a:off x="5008633" y="2808280"/>
                      <a:ext cx="259763" cy="256722"/>
                      <a:chOff x="2483142" y="3483768"/>
                      <a:chExt cx="1667379" cy="1647859"/>
                    </a:xfrm>
                    <a:grpFill/>
                  </p:grpSpPr>
                  <p:sp>
                    <p:nvSpPr>
                      <p:cNvPr id="393" name="Chord 392"/>
                      <p:cNvSpPr/>
                      <p:nvPr/>
                    </p:nvSpPr>
                    <p:spPr>
                      <a:xfrm rot="15252178">
                        <a:off x="2550314" y="3531420"/>
                        <a:ext cx="1600209" cy="1600205"/>
                      </a:xfrm>
                      <a:prstGeom prst="chord">
                        <a:avLst>
                          <a:gd name="adj1" fmla="val 2700000"/>
                          <a:gd name="adj2" fmla="val 13503586"/>
                        </a:avLst>
                      </a:prstGeom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  <a:ln>
                        <a:noFill/>
                      </a:ln>
                      <a:scene3d>
                        <a:camera prst="orthographicFront"/>
                        <a:lightRig rig="threePt" dir="t"/>
                      </a:scene3d>
                      <a:sp3d>
                        <a:bevelT w="114300" prst="hardEdge"/>
                      </a:sp3d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dirty="0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394" name="Chord 393"/>
                      <p:cNvSpPr/>
                      <p:nvPr/>
                    </p:nvSpPr>
                    <p:spPr>
                      <a:xfrm rot="4499696">
                        <a:off x="2483146" y="3483764"/>
                        <a:ext cx="1600196" cy="1600204"/>
                      </a:xfrm>
                      <a:prstGeom prst="chord">
                        <a:avLst>
                          <a:gd name="adj1" fmla="val 2700000"/>
                          <a:gd name="adj2" fmla="val 13503586"/>
                        </a:avLst>
                      </a:prstGeom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  <a:ln>
                        <a:noFill/>
                      </a:ln>
                      <a:scene3d>
                        <a:camera prst="orthographicFront"/>
                        <a:lightRig rig="threePt" dir="t"/>
                      </a:scene3d>
                      <a:sp3d>
                        <a:bevelT w="114300" prst="hardEdge"/>
                      </a:sp3d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dirty="0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368" name="Group 367"/>
                <p:cNvGrpSpPr/>
                <p:nvPr>
                  <p:custDataLst>
                    <p:tags r:id="rId5"/>
                  </p:custDataLst>
                </p:nvPr>
              </p:nvGrpSpPr>
              <p:grpSpPr>
                <a:xfrm>
                  <a:off x="4584365" y="3432786"/>
                  <a:ext cx="396784" cy="396782"/>
                  <a:chOff x="5960944" y="3932869"/>
                  <a:chExt cx="515748" cy="515748"/>
                </a:xfrm>
              </p:grpSpPr>
              <p:sp>
                <p:nvSpPr>
                  <p:cNvPr id="383" name="Oval 382"/>
                  <p:cNvSpPr/>
                  <p:nvPr>
                    <p:custDataLst>
                      <p:tags r:id="rId12"/>
                    </p:custDataLst>
                  </p:nvPr>
                </p:nvSpPr>
                <p:spPr>
                  <a:xfrm>
                    <a:off x="5960944" y="3932869"/>
                    <a:ext cx="515748" cy="515748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4">
                          <a:lumMod val="75000"/>
                        </a:schemeClr>
                      </a:gs>
                      <a:gs pos="50000">
                        <a:schemeClr val="accent4">
                          <a:lumMod val="60000"/>
                          <a:lumOff val="40000"/>
                        </a:schemeClr>
                      </a:gs>
                      <a:gs pos="100000">
                        <a:schemeClr val="accent4">
                          <a:lumMod val="75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rgbClr val="FFFFFF"/>
                      </a:solidFill>
                      <a:sym typeface="Calibri"/>
                    </a:endParaRPr>
                  </a:p>
                </p:txBody>
              </p:sp>
              <p:grpSp>
                <p:nvGrpSpPr>
                  <p:cNvPr id="384" name="Group 222"/>
                  <p:cNvGrpSpPr/>
                  <p:nvPr>
                    <p:custDataLst>
                      <p:tags r:id="rId13"/>
                    </p:custDataLst>
                  </p:nvPr>
                </p:nvGrpSpPr>
                <p:grpSpPr>
                  <a:xfrm>
                    <a:off x="6049260" y="4021188"/>
                    <a:ext cx="339097" cy="339096"/>
                    <a:chOff x="4973643" y="2771766"/>
                    <a:chExt cx="329746" cy="329746"/>
                  </a:xfrm>
                  <a:solidFill>
                    <a:schemeClr val="accent1">
                      <a:lumMod val="60000"/>
                      <a:lumOff val="40000"/>
                    </a:schemeClr>
                  </a:solidFill>
                </p:grpSpPr>
                <p:sp>
                  <p:nvSpPr>
                    <p:cNvPr id="385" name="Oval 384"/>
                    <p:cNvSpPr/>
                    <p:nvPr/>
                  </p:nvSpPr>
                  <p:spPr>
                    <a:xfrm flipV="1">
                      <a:off x="4973643" y="2771766"/>
                      <a:ext cx="329746" cy="329746"/>
                    </a:xfrm>
                    <a:prstGeom prst="ellipse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386" name="Group 101"/>
                    <p:cNvGrpSpPr/>
                    <p:nvPr/>
                  </p:nvGrpSpPr>
                  <p:grpSpPr>
                    <a:xfrm>
                      <a:off x="5008633" y="2808280"/>
                      <a:ext cx="259763" cy="256722"/>
                      <a:chOff x="2483142" y="3483768"/>
                      <a:chExt cx="1667379" cy="1647859"/>
                    </a:xfrm>
                    <a:grpFill/>
                  </p:grpSpPr>
                  <p:sp>
                    <p:nvSpPr>
                      <p:cNvPr id="387" name="Chord 386"/>
                      <p:cNvSpPr/>
                      <p:nvPr/>
                    </p:nvSpPr>
                    <p:spPr>
                      <a:xfrm rot="15252178">
                        <a:off x="2550314" y="3531420"/>
                        <a:ext cx="1600209" cy="1600205"/>
                      </a:xfrm>
                      <a:prstGeom prst="chord">
                        <a:avLst>
                          <a:gd name="adj1" fmla="val 2700000"/>
                          <a:gd name="adj2" fmla="val 13503586"/>
                        </a:avLst>
                      </a:prstGeom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  <a:ln>
                        <a:noFill/>
                      </a:ln>
                      <a:scene3d>
                        <a:camera prst="orthographicFront"/>
                        <a:lightRig rig="threePt" dir="t"/>
                      </a:scene3d>
                      <a:sp3d>
                        <a:bevelT w="114300" prst="hardEdge"/>
                      </a:sp3d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dirty="0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388" name="Chord 387"/>
                      <p:cNvSpPr/>
                      <p:nvPr/>
                    </p:nvSpPr>
                    <p:spPr>
                      <a:xfrm rot="4499696">
                        <a:off x="2483146" y="3483764"/>
                        <a:ext cx="1600196" cy="1600204"/>
                      </a:xfrm>
                      <a:prstGeom prst="chord">
                        <a:avLst>
                          <a:gd name="adj1" fmla="val 2700000"/>
                          <a:gd name="adj2" fmla="val 13503586"/>
                        </a:avLst>
                      </a:prstGeom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  <a:ln>
                        <a:noFill/>
                      </a:ln>
                      <a:scene3d>
                        <a:camera prst="orthographicFront"/>
                        <a:lightRig rig="threePt" dir="t"/>
                      </a:scene3d>
                      <a:sp3d>
                        <a:bevelT w="114300" prst="hardEdge"/>
                      </a:sp3d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dirty="0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369" name="Group 368"/>
                <p:cNvGrpSpPr/>
                <p:nvPr>
                  <p:custDataLst>
                    <p:tags r:id="rId6"/>
                  </p:custDataLst>
                </p:nvPr>
              </p:nvGrpSpPr>
              <p:grpSpPr>
                <a:xfrm rot="21402119">
                  <a:off x="6144381" y="1918645"/>
                  <a:ext cx="396784" cy="396782"/>
                  <a:chOff x="5960944" y="3932869"/>
                  <a:chExt cx="515748" cy="515748"/>
                </a:xfrm>
              </p:grpSpPr>
              <p:sp>
                <p:nvSpPr>
                  <p:cNvPr id="377" name="Oval 376"/>
                  <p:cNvSpPr/>
                  <p:nvPr>
                    <p:custDataLst>
                      <p:tags r:id="rId10"/>
                    </p:custDataLst>
                  </p:nvPr>
                </p:nvSpPr>
                <p:spPr>
                  <a:xfrm>
                    <a:off x="5960944" y="3932869"/>
                    <a:ext cx="515748" cy="515748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4">
                          <a:lumMod val="75000"/>
                        </a:schemeClr>
                      </a:gs>
                      <a:gs pos="50000">
                        <a:schemeClr val="accent4">
                          <a:lumMod val="60000"/>
                          <a:lumOff val="40000"/>
                        </a:schemeClr>
                      </a:gs>
                      <a:gs pos="100000">
                        <a:schemeClr val="accent4">
                          <a:lumMod val="75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rgbClr val="FFFFFF"/>
                      </a:solidFill>
                      <a:sym typeface="Calibri"/>
                    </a:endParaRPr>
                  </a:p>
                </p:txBody>
              </p:sp>
              <p:grpSp>
                <p:nvGrpSpPr>
                  <p:cNvPr id="378" name="Group 222"/>
                  <p:cNvGrpSpPr/>
                  <p:nvPr>
                    <p:custDataLst>
                      <p:tags r:id="rId11"/>
                    </p:custDataLst>
                  </p:nvPr>
                </p:nvGrpSpPr>
                <p:grpSpPr>
                  <a:xfrm>
                    <a:off x="6049260" y="4021188"/>
                    <a:ext cx="339097" cy="339096"/>
                    <a:chOff x="4973643" y="2771766"/>
                    <a:chExt cx="329746" cy="329746"/>
                  </a:xfrm>
                  <a:solidFill>
                    <a:schemeClr val="accent1">
                      <a:lumMod val="60000"/>
                      <a:lumOff val="40000"/>
                    </a:schemeClr>
                  </a:solidFill>
                </p:grpSpPr>
                <p:sp>
                  <p:nvSpPr>
                    <p:cNvPr id="379" name="Oval 378"/>
                    <p:cNvSpPr/>
                    <p:nvPr/>
                  </p:nvSpPr>
                  <p:spPr>
                    <a:xfrm flipV="1">
                      <a:off x="4973643" y="2771766"/>
                      <a:ext cx="329746" cy="329746"/>
                    </a:xfrm>
                    <a:prstGeom prst="ellipse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380" name="Group 101"/>
                    <p:cNvGrpSpPr/>
                    <p:nvPr/>
                  </p:nvGrpSpPr>
                  <p:grpSpPr>
                    <a:xfrm>
                      <a:off x="5008631" y="2808281"/>
                      <a:ext cx="259763" cy="256720"/>
                      <a:chOff x="2483139" y="3483779"/>
                      <a:chExt cx="1667382" cy="1647848"/>
                    </a:xfrm>
                    <a:grpFill/>
                  </p:grpSpPr>
                  <p:sp>
                    <p:nvSpPr>
                      <p:cNvPr id="381" name="Chord 380"/>
                      <p:cNvSpPr/>
                      <p:nvPr/>
                    </p:nvSpPr>
                    <p:spPr>
                      <a:xfrm rot="15252178">
                        <a:off x="2550314" y="3531420"/>
                        <a:ext cx="1600209" cy="1600205"/>
                      </a:xfrm>
                      <a:prstGeom prst="chord">
                        <a:avLst>
                          <a:gd name="adj1" fmla="val 2700000"/>
                          <a:gd name="adj2" fmla="val 13503586"/>
                        </a:avLst>
                      </a:prstGeom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  <a:ln>
                        <a:noFill/>
                      </a:ln>
                      <a:scene3d>
                        <a:camera prst="orthographicFront"/>
                        <a:lightRig rig="threePt" dir="t"/>
                      </a:scene3d>
                      <a:sp3d>
                        <a:bevelT w="114300" prst="hardEdge"/>
                      </a:sp3d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dirty="0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382" name="Chord 381"/>
                      <p:cNvSpPr/>
                      <p:nvPr/>
                    </p:nvSpPr>
                    <p:spPr>
                      <a:xfrm rot="4499696">
                        <a:off x="2483144" y="3483774"/>
                        <a:ext cx="1600197" cy="1600208"/>
                      </a:xfrm>
                      <a:prstGeom prst="chord">
                        <a:avLst>
                          <a:gd name="adj1" fmla="val 2700000"/>
                          <a:gd name="adj2" fmla="val 13503586"/>
                        </a:avLst>
                      </a:prstGeom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  <a:ln>
                        <a:noFill/>
                      </a:ln>
                      <a:scene3d>
                        <a:camera prst="orthographicFront"/>
                        <a:lightRig rig="threePt" dir="t"/>
                      </a:scene3d>
                      <a:sp3d>
                        <a:bevelT w="114300" prst="hardEdge"/>
                      </a:sp3d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dirty="0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370" name="Group 369"/>
                <p:cNvGrpSpPr/>
                <p:nvPr>
                  <p:custDataLst>
                    <p:tags r:id="rId7"/>
                  </p:custDataLst>
                </p:nvPr>
              </p:nvGrpSpPr>
              <p:grpSpPr>
                <a:xfrm>
                  <a:off x="6122036" y="3430593"/>
                  <a:ext cx="396784" cy="396782"/>
                  <a:chOff x="5960944" y="3932869"/>
                  <a:chExt cx="515748" cy="515748"/>
                </a:xfrm>
              </p:grpSpPr>
              <p:sp>
                <p:nvSpPr>
                  <p:cNvPr id="371" name="Oval 370"/>
                  <p:cNvSpPr/>
                  <p:nvPr>
                    <p:custDataLst>
                      <p:tags r:id="rId8"/>
                    </p:custDataLst>
                  </p:nvPr>
                </p:nvSpPr>
                <p:spPr>
                  <a:xfrm>
                    <a:off x="5960944" y="3932869"/>
                    <a:ext cx="515748" cy="515748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4">
                          <a:lumMod val="75000"/>
                        </a:schemeClr>
                      </a:gs>
                      <a:gs pos="50000">
                        <a:schemeClr val="accent4">
                          <a:lumMod val="60000"/>
                          <a:lumOff val="40000"/>
                        </a:schemeClr>
                      </a:gs>
                      <a:gs pos="100000">
                        <a:schemeClr val="accent4">
                          <a:lumMod val="75000"/>
                        </a:schemeClr>
                      </a:gs>
                    </a:gsLst>
                    <a:lin ang="5400000" scaled="0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rgbClr val="FFFFFF"/>
                      </a:solidFill>
                      <a:sym typeface="Calibri"/>
                    </a:endParaRPr>
                  </a:p>
                </p:txBody>
              </p:sp>
              <p:grpSp>
                <p:nvGrpSpPr>
                  <p:cNvPr id="372" name="Group 222"/>
                  <p:cNvGrpSpPr/>
                  <p:nvPr>
                    <p:custDataLst>
                      <p:tags r:id="rId9"/>
                    </p:custDataLst>
                  </p:nvPr>
                </p:nvGrpSpPr>
                <p:grpSpPr>
                  <a:xfrm>
                    <a:off x="6049260" y="4021188"/>
                    <a:ext cx="339097" cy="339096"/>
                    <a:chOff x="4973643" y="2771766"/>
                    <a:chExt cx="329746" cy="329746"/>
                  </a:xfrm>
                  <a:solidFill>
                    <a:schemeClr val="accent1">
                      <a:lumMod val="60000"/>
                      <a:lumOff val="40000"/>
                    </a:schemeClr>
                  </a:solidFill>
                </p:grpSpPr>
                <p:sp>
                  <p:nvSpPr>
                    <p:cNvPr id="373" name="Oval 372"/>
                    <p:cNvSpPr/>
                    <p:nvPr/>
                  </p:nvSpPr>
                  <p:spPr>
                    <a:xfrm flipV="1">
                      <a:off x="4973643" y="2771766"/>
                      <a:ext cx="329746" cy="329746"/>
                    </a:xfrm>
                    <a:prstGeom prst="ellipse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374" name="Group 101"/>
                    <p:cNvGrpSpPr/>
                    <p:nvPr/>
                  </p:nvGrpSpPr>
                  <p:grpSpPr>
                    <a:xfrm>
                      <a:off x="5008633" y="2808280"/>
                      <a:ext cx="259763" cy="256722"/>
                      <a:chOff x="2483142" y="3483768"/>
                      <a:chExt cx="1667379" cy="1647859"/>
                    </a:xfrm>
                    <a:grpFill/>
                  </p:grpSpPr>
                  <p:sp>
                    <p:nvSpPr>
                      <p:cNvPr id="375" name="Chord 374"/>
                      <p:cNvSpPr/>
                      <p:nvPr/>
                    </p:nvSpPr>
                    <p:spPr>
                      <a:xfrm rot="15252178">
                        <a:off x="2550314" y="3531420"/>
                        <a:ext cx="1600209" cy="1600205"/>
                      </a:xfrm>
                      <a:prstGeom prst="chord">
                        <a:avLst>
                          <a:gd name="adj1" fmla="val 2700000"/>
                          <a:gd name="adj2" fmla="val 13503586"/>
                        </a:avLst>
                      </a:prstGeom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  <a:ln>
                        <a:noFill/>
                      </a:ln>
                      <a:scene3d>
                        <a:camera prst="orthographicFront"/>
                        <a:lightRig rig="threePt" dir="t"/>
                      </a:scene3d>
                      <a:sp3d>
                        <a:bevelT w="114300" prst="hardEdge"/>
                      </a:sp3d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dirty="0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  <p:sp>
                    <p:nvSpPr>
                      <p:cNvPr id="376" name="Chord 375"/>
                      <p:cNvSpPr/>
                      <p:nvPr/>
                    </p:nvSpPr>
                    <p:spPr>
                      <a:xfrm rot="4499696">
                        <a:off x="2483146" y="3483764"/>
                        <a:ext cx="1600196" cy="1600204"/>
                      </a:xfrm>
                      <a:prstGeom prst="chord">
                        <a:avLst>
                          <a:gd name="adj1" fmla="val 2700000"/>
                          <a:gd name="adj2" fmla="val 13503586"/>
                        </a:avLst>
                      </a:prstGeom>
                      <a:solidFill>
                        <a:schemeClr val="accent4">
                          <a:lumMod val="60000"/>
                          <a:lumOff val="40000"/>
                        </a:schemeClr>
                      </a:solidFill>
                      <a:ln>
                        <a:noFill/>
                      </a:ln>
                      <a:scene3d>
                        <a:camera prst="orthographicFront"/>
                        <a:lightRig rig="threePt" dir="t"/>
                      </a:scene3d>
                      <a:sp3d>
                        <a:bevelT w="114300" prst="hardEdge"/>
                      </a:sp3d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dirty="0">
                          <a:solidFill>
                            <a:srgbClr val="FFFFFF"/>
                          </a:solidFill>
                        </a:endParaRPr>
                      </a:p>
                    </p:txBody>
                  </p:sp>
                </p:grpSp>
              </p:grpSp>
            </p:grpSp>
          </p:grpSp>
          <p:pic>
            <p:nvPicPr>
              <p:cNvPr id="680" name="Picture 10"/>
              <p:cNvPicPr>
                <a:picLocks noChangeAspect="1" noChangeArrowheads="1"/>
              </p:cNvPicPr>
              <p:nvPr/>
            </p:nvPicPr>
            <p:blipFill>
              <a:blip r:embed="rId4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40156" y="4827564"/>
                <a:ext cx="731856" cy="7786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38" name="Picture 14"/>
              <p:cNvPicPr>
                <a:picLocks noChangeAspect="1" noChangeArrowheads="1"/>
              </p:cNvPicPr>
              <p:nvPr/>
            </p:nvPicPr>
            <p:blipFill rotWithShape="1">
              <a:blip r:embed="rId4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3086" t="73031" r="32203" b="20141"/>
              <a:stretch/>
            </p:blipFill>
            <p:spPr bwMode="auto">
              <a:xfrm>
                <a:off x="6549680" y="5595783"/>
                <a:ext cx="377256" cy="3076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00" name="TextBox 99"/>
          <p:cNvSpPr txBox="1"/>
          <p:nvPr/>
        </p:nvSpPr>
        <p:spPr>
          <a:xfrm>
            <a:off x="939800" y="6303423"/>
            <a:ext cx="7775884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defRPr/>
            </a:pPr>
            <a:r>
              <a:rPr lang="en-US" sz="1200" kern="0" dirty="0" smtClean="0">
                <a:solidFill>
                  <a:srgbClr val="7F7F7F">
                    <a:lumMod val="50000"/>
                  </a:srgbClr>
                </a:solidFill>
              </a:rPr>
              <a:t>Learn more from our </a:t>
            </a:r>
            <a:r>
              <a:rPr lang="en-US" sz="1200" kern="0" dirty="0" smtClean="0">
                <a:solidFill>
                  <a:srgbClr val="7F7F7F">
                    <a:lumMod val="50000"/>
                  </a:srgbClr>
                </a:solidFill>
                <a:hlinkClick r:id="rId48"/>
              </a:rPr>
              <a:t>24point0 Tips and Tutorials</a:t>
            </a:r>
            <a:r>
              <a:rPr lang="en-US" sz="1200" kern="0" dirty="0" smtClean="0">
                <a:solidFill>
                  <a:srgbClr val="7F7F7F">
                    <a:lumMod val="50000"/>
                  </a:srgbClr>
                </a:solidFill>
              </a:rPr>
              <a:t/>
            </a:r>
            <a:br>
              <a:rPr lang="en-US" sz="1200" kern="0" dirty="0" smtClean="0">
                <a:solidFill>
                  <a:srgbClr val="7F7F7F">
                    <a:lumMod val="50000"/>
                  </a:srgbClr>
                </a:solidFill>
              </a:rPr>
            </a:br>
            <a:r>
              <a:rPr lang="en-US" sz="800" kern="0" dirty="0" smtClean="0">
                <a:solidFill>
                  <a:srgbClr val="7F7F7F">
                    <a:lumMod val="50000"/>
                  </a:srgbClr>
                </a:solidFill>
              </a:rPr>
              <a:t>http://www.24point0.com/ppt-shop/tips-and-tutorials/</a:t>
            </a:r>
            <a:endParaRPr lang="en-US" sz="1200" kern="0" dirty="0" smtClean="0">
              <a:solidFill>
                <a:srgbClr val="7F7F7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324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CI Matrix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81000" y="1411605"/>
            <a:ext cx="7702296" cy="1139082"/>
            <a:chOff x="927658" y="1666460"/>
            <a:chExt cx="7702296" cy="1139082"/>
          </a:xfrm>
        </p:grpSpPr>
        <p:grpSp>
          <p:nvGrpSpPr>
            <p:cNvPr id="3" name="Group 2"/>
            <p:cNvGrpSpPr/>
            <p:nvPr/>
          </p:nvGrpSpPr>
          <p:grpSpPr>
            <a:xfrm>
              <a:off x="927658" y="1666460"/>
              <a:ext cx="3956394" cy="1139082"/>
              <a:chOff x="927658" y="1666460"/>
              <a:chExt cx="3956394" cy="1139082"/>
            </a:xfrm>
          </p:grpSpPr>
          <p:sp>
            <p:nvSpPr>
              <p:cNvPr id="53" name="Freeform 52"/>
              <p:cNvSpPr/>
              <p:nvPr/>
            </p:nvSpPr>
            <p:spPr>
              <a:xfrm>
                <a:off x="927658" y="1666460"/>
                <a:ext cx="1065144" cy="1139082"/>
              </a:xfrm>
              <a:custGeom>
                <a:avLst/>
                <a:gdLst>
                  <a:gd name="connsiteX0" fmla="*/ 0 w 2019300"/>
                  <a:gd name="connsiteY0" fmla="*/ 0 h 1139082"/>
                  <a:gd name="connsiteX1" fmla="*/ 2019300 w 2019300"/>
                  <a:gd name="connsiteY1" fmla="*/ 0 h 1139082"/>
                  <a:gd name="connsiteX2" fmla="*/ 2019300 w 2019300"/>
                  <a:gd name="connsiteY2" fmla="*/ 329163 h 1139082"/>
                  <a:gd name="connsiteX3" fmla="*/ 2019300 w 2019300"/>
                  <a:gd name="connsiteY3" fmla="*/ 983801 h 1139082"/>
                  <a:gd name="connsiteX4" fmla="*/ 2019300 w 2019300"/>
                  <a:gd name="connsiteY4" fmla="*/ 1003300 h 1139082"/>
                  <a:gd name="connsiteX5" fmla="*/ 2016241 w 2019300"/>
                  <a:gd name="connsiteY5" fmla="*/ 1003300 h 1139082"/>
                  <a:gd name="connsiteX6" fmla="*/ 2009819 w 2019300"/>
                  <a:gd name="connsiteY6" fmla="*/ 1044240 h 1139082"/>
                  <a:gd name="connsiteX7" fmla="*/ 1898650 w 2019300"/>
                  <a:gd name="connsiteY7" fmla="*/ 1139082 h 1139082"/>
                  <a:gd name="connsiteX8" fmla="*/ 1787481 w 2019300"/>
                  <a:gd name="connsiteY8" fmla="*/ 1044240 h 1139082"/>
                  <a:gd name="connsiteX9" fmla="*/ 1781059 w 2019300"/>
                  <a:gd name="connsiteY9" fmla="*/ 1003300 h 1139082"/>
                  <a:gd name="connsiteX10" fmla="*/ 0 w 2019300"/>
                  <a:gd name="connsiteY10" fmla="*/ 1003300 h 113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19300" h="1139082">
                    <a:moveTo>
                      <a:pt x="0" y="0"/>
                    </a:moveTo>
                    <a:lnTo>
                      <a:pt x="2019300" y="0"/>
                    </a:lnTo>
                    <a:lnTo>
                      <a:pt x="2019300" y="329163"/>
                    </a:lnTo>
                    <a:lnTo>
                      <a:pt x="2019300" y="983801"/>
                    </a:lnTo>
                    <a:lnTo>
                      <a:pt x="2019300" y="1003300"/>
                    </a:lnTo>
                    <a:lnTo>
                      <a:pt x="2016241" y="1003300"/>
                    </a:lnTo>
                    <a:lnTo>
                      <a:pt x="2009819" y="1044240"/>
                    </a:lnTo>
                    <a:cubicBezTo>
                      <a:pt x="1991505" y="1099971"/>
                      <a:pt x="1948628" y="1139082"/>
                      <a:pt x="1898650" y="1139082"/>
                    </a:cubicBezTo>
                    <a:cubicBezTo>
                      <a:pt x="1848673" y="1139082"/>
                      <a:pt x="1805796" y="1099971"/>
                      <a:pt x="1787481" y="1044240"/>
                    </a:cubicBezTo>
                    <a:lnTo>
                      <a:pt x="1781059" y="1003300"/>
                    </a:lnTo>
                    <a:lnTo>
                      <a:pt x="0" y="100330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en-US" sz="3600" b="1" dirty="0" smtClean="0">
                    <a:solidFill>
                      <a:schemeClr val="bg1"/>
                    </a:solidFill>
                  </a:rPr>
                  <a:t>R</a:t>
                </a:r>
                <a:endParaRPr lang="en-US" sz="3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Freeform 64"/>
              <p:cNvSpPr/>
              <p:nvPr/>
            </p:nvSpPr>
            <p:spPr>
              <a:xfrm>
                <a:off x="2096045" y="1666460"/>
                <a:ext cx="2788007" cy="1004857"/>
              </a:xfrm>
              <a:custGeom>
                <a:avLst/>
                <a:gdLst>
                  <a:gd name="connsiteX0" fmla="*/ 0 w 3993304"/>
                  <a:gd name="connsiteY0" fmla="*/ 0 h 1004857"/>
                  <a:gd name="connsiteX1" fmla="*/ 56599 w 3993304"/>
                  <a:gd name="connsiteY1" fmla="*/ 0 h 1004857"/>
                  <a:gd name="connsiteX2" fmla="*/ 56599 w 3993304"/>
                  <a:gd name="connsiteY2" fmla="*/ 943390 h 1004857"/>
                  <a:gd name="connsiteX3" fmla="*/ 3682448 w 3993304"/>
                  <a:gd name="connsiteY3" fmla="*/ 943390 h 1004857"/>
                  <a:gd name="connsiteX4" fmla="*/ 3682448 w 3993304"/>
                  <a:gd name="connsiteY4" fmla="*/ 0 h 1004857"/>
                  <a:gd name="connsiteX5" fmla="*/ 3737113 w 3993304"/>
                  <a:gd name="connsiteY5" fmla="*/ 0 h 1004857"/>
                  <a:gd name="connsiteX6" fmla="*/ 3737113 w 3993304"/>
                  <a:gd name="connsiteY6" fmla="*/ 275340 h 1004857"/>
                  <a:gd name="connsiteX7" fmla="*/ 3993304 w 3993304"/>
                  <a:gd name="connsiteY7" fmla="*/ 640098 h 1004857"/>
                  <a:gd name="connsiteX8" fmla="*/ 3737113 w 3993304"/>
                  <a:gd name="connsiteY8" fmla="*/ 1004857 h 1004857"/>
                  <a:gd name="connsiteX9" fmla="*/ 3737113 w 3993304"/>
                  <a:gd name="connsiteY9" fmla="*/ 1004423 h 1004857"/>
                  <a:gd name="connsiteX10" fmla="*/ 0 w 3993304"/>
                  <a:gd name="connsiteY10" fmla="*/ 1004423 h 1004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993304" h="1004857">
                    <a:moveTo>
                      <a:pt x="0" y="0"/>
                    </a:moveTo>
                    <a:lnTo>
                      <a:pt x="56599" y="0"/>
                    </a:lnTo>
                    <a:lnTo>
                      <a:pt x="56599" y="943390"/>
                    </a:lnTo>
                    <a:lnTo>
                      <a:pt x="3682448" y="943390"/>
                    </a:lnTo>
                    <a:lnTo>
                      <a:pt x="3682448" y="0"/>
                    </a:lnTo>
                    <a:lnTo>
                      <a:pt x="3737113" y="0"/>
                    </a:lnTo>
                    <a:lnTo>
                      <a:pt x="3737113" y="275340"/>
                    </a:lnTo>
                    <a:lnTo>
                      <a:pt x="3993304" y="640098"/>
                    </a:lnTo>
                    <a:lnTo>
                      <a:pt x="3737113" y="1004857"/>
                    </a:lnTo>
                    <a:lnTo>
                      <a:pt x="3737113" y="1004423"/>
                    </a:lnTo>
                    <a:lnTo>
                      <a:pt x="0" y="1004423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r>
                  <a:rPr lang="en-US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Who is </a:t>
                </a:r>
                <a:r>
                  <a:rPr lang="en-US" sz="24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R</a:t>
                </a:r>
                <a:r>
                  <a:rPr lang="en-US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ESPONSIBLE</a:t>
                </a:r>
                <a:endParaRPr lang="en-US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  <p:sp>
          <p:nvSpPr>
            <p:cNvPr id="69" name="Double Brace 68"/>
            <p:cNvSpPr/>
            <p:nvPr/>
          </p:nvSpPr>
          <p:spPr>
            <a:xfrm>
              <a:off x="5225143" y="1797343"/>
              <a:ext cx="3404811" cy="742658"/>
            </a:xfrm>
            <a:prstGeom prst="brace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The person who is </a:t>
              </a:r>
              <a:r>
                <a:rPr lang="en-US" sz="1400" b="1" dirty="0" smtClean="0">
                  <a:solidFill>
                    <a:schemeClr val="accent2"/>
                  </a:solidFill>
                </a:rPr>
                <a:t>assigned</a:t>
              </a:r>
              <a:r>
                <a:rPr lang="en-US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 to do the work.</a:t>
              </a:r>
              <a:endPara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81000" y="2416028"/>
            <a:ext cx="7702296" cy="1139083"/>
            <a:chOff x="927658" y="2670883"/>
            <a:chExt cx="7702296" cy="1139083"/>
          </a:xfrm>
        </p:grpSpPr>
        <p:sp>
          <p:nvSpPr>
            <p:cNvPr id="57" name="Freeform 56"/>
            <p:cNvSpPr/>
            <p:nvPr/>
          </p:nvSpPr>
          <p:spPr>
            <a:xfrm>
              <a:off x="927658" y="2670884"/>
              <a:ext cx="1065144" cy="1139082"/>
            </a:xfrm>
            <a:custGeom>
              <a:avLst/>
              <a:gdLst>
                <a:gd name="connsiteX0" fmla="*/ 0 w 2019300"/>
                <a:gd name="connsiteY0" fmla="*/ 0 h 1139082"/>
                <a:gd name="connsiteX1" fmla="*/ 1781059 w 2019300"/>
                <a:gd name="connsiteY1" fmla="*/ 0 h 1139082"/>
                <a:gd name="connsiteX2" fmla="*/ 1787481 w 2019300"/>
                <a:gd name="connsiteY2" fmla="*/ 40940 h 1139082"/>
                <a:gd name="connsiteX3" fmla="*/ 1898650 w 2019300"/>
                <a:gd name="connsiteY3" fmla="*/ 135782 h 1139082"/>
                <a:gd name="connsiteX4" fmla="*/ 2009820 w 2019300"/>
                <a:gd name="connsiteY4" fmla="*/ 40940 h 1139082"/>
                <a:gd name="connsiteX5" fmla="*/ 2016242 w 2019300"/>
                <a:gd name="connsiteY5" fmla="*/ 0 h 1139082"/>
                <a:gd name="connsiteX6" fmla="*/ 2019300 w 2019300"/>
                <a:gd name="connsiteY6" fmla="*/ 0 h 1139082"/>
                <a:gd name="connsiteX7" fmla="*/ 2019300 w 2019300"/>
                <a:gd name="connsiteY7" fmla="*/ 329163 h 1139082"/>
                <a:gd name="connsiteX8" fmla="*/ 2019300 w 2019300"/>
                <a:gd name="connsiteY8" fmla="*/ 983801 h 1139082"/>
                <a:gd name="connsiteX9" fmla="*/ 2019300 w 2019300"/>
                <a:gd name="connsiteY9" fmla="*/ 1003300 h 1139082"/>
                <a:gd name="connsiteX10" fmla="*/ 2016242 w 2019300"/>
                <a:gd name="connsiteY10" fmla="*/ 1003300 h 1139082"/>
                <a:gd name="connsiteX11" fmla="*/ 2009820 w 2019300"/>
                <a:gd name="connsiteY11" fmla="*/ 1044240 h 1139082"/>
                <a:gd name="connsiteX12" fmla="*/ 1898650 w 2019300"/>
                <a:gd name="connsiteY12" fmla="*/ 1139082 h 1139082"/>
                <a:gd name="connsiteX13" fmla="*/ 1787481 w 2019300"/>
                <a:gd name="connsiteY13" fmla="*/ 1044240 h 1139082"/>
                <a:gd name="connsiteX14" fmla="*/ 1781059 w 2019300"/>
                <a:gd name="connsiteY14" fmla="*/ 1003300 h 1139082"/>
                <a:gd name="connsiteX15" fmla="*/ 0 w 2019300"/>
                <a:gd name="connsiteY15" fmla="*/ 1003300 h 1139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19300" h="1139082">
                  <a:moveTo>
                    <a:pt x="0" y="0"/>
                  </a:moveTo>
                  <a:lnTo>
                    <a:pt x="1781059" y="0"/>
                  </a:lnTo>
                  <a:lnTo>
                    <a:pt x="1787481" y="40940"/>
                  </a:lnTo>
                  <a:cubicBezTo>
                    <a:pt x="1805796" y="96671"/>
                    <a:pt x="1848673" y="135782"/>
                    <a:pt x="1898650" y="135782"/>
                  </a:cubicBezTo>
                  <a:cubicBezTo>
                    <a:pt x="1948628" y="135782"/>
                    <a:pt x="1991505" y="96671"/>
                    <a:pt x="2009820" y="40940"/>
                  </a:cubicBezTo>
                  <a:lnTo>
                    <a:pt x="2016242" y="0"/>
                  </a:lnTo>
                  <a:lnTo>
                    <a:pt x="2019300" y="0"/>
                  </a:lnTo>
                  <a:lnTo>
                    <a:pt x="2019300" y="329163"/>
                  </a:lnTo>
                  <a:lnTo>
                    <a:pt x="2019300" y="983801"/>
                  </a:lnTo>
                  <a:lnTo>
                    <a:pt x="2019300" y="1003300"/>
                  </a:lnTo>
                  <a:lnTo>
                    <a:pt x="2016242" y="1003300"/>
                  </a:lnTo>
                  <a:lnTo>
                    <a:pt x="2009820" y="1044240"/>
                  </a:lnTo>
                  <a:cubicBezTo>
                    <a:pt x="1991505" y="1099971"/>
                    <a:pt x="1948628" y="1139082"/>
                    <a:pt x="1898650" y="1139082"/>
                  </a:cubicBezTo>
                  <a:cubicBezTo>
                    <a:pt x="1848673" y="1139082"/>
                    <a:pt x="1805796" y="1099971"/>
                    <a:pt x="1787481" y="1044240"/>
                  </a:cubicBezTo>
                  <a:lnTo>
                    <a:pt x="1781059" y="1003300"/>
                  </a:lnTo>
                  <a:lnTo>
                    <a:pt x="0" y="1003300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sz="3600" b="1" dirty="0" smtClean="0">
                  <a:solidFill>
                    <a:schemeClr val="bg1"/>
                  </a:solidFill>
                </a:rPr>
                <a:t>A</a:t>
              </a:r>
              <a:endParaRPr lang="en-US" sz="3600" b="1" dirty="0">
                <a:solidFill>
                  <a:schemeClr val="bg1"/>
                </a:solidFill>
              </a:endParaRPr>
            </a:p>
          </p:txBody>
        </p:sp>
        <p:sp>
          <p:nvSpPr>
            <p:cNvPr id="66" name="Freeform 65"/>
            <p:cNvSpPr/>
            <p:nvPr/>
          </p:nvSpPr>
          <p:spPr>
            <a:xfrm>
              <a:off x="2096045" y="2670883"/>
              <a:ext cx="2788007" cy="1004857"/>
            </a:xfrm>
            <a:custGeom>
              <a:avLst/>
              <a:gdLst>
                <a:gd name="connsiteX0" fmla="*/ 0 w 3993304"/>
                <a:gd name="connsiteY0" fmla="*/ 0 h 1004857"/>
                <a:gd name="connsiteX1" fmla="*/ 56599 w 3993304"/>
                <a:gd name="connsiteY1" fmla="*/ 0 h 1004857"/>
                <a:gd name="connsiteX2" fmla="*/ 56599 w 3993304"/>
                <a:gd name="connsiteY2" fmla="*/ 943390 h 1004857"/>
                <a:gd name="connsiteX3" fmla="*/ 3682448 w 3993304"/>
                <a:gd name="connsiteY3" fmla="*/ 943390 h 1004857"/>
                <a:gd name="connsiteX4" fmla="*/ 3682448 w 3993304"/>
                <a:gd name="connsiteY4" fmla="*/ 0 h 1004857"/>
                <a:gd name="connsiteX5" fmla="*/ 3737113 w 3993304"/>
                <a:gd name="connsiteY5" fmla="*/ 0 h 1004857"/>
                <a:gd name="connsiteX6" fmla="*/ 3737113 w 3993304"/>
                <a:gd name="connsiteY6" fmla="*/ 275340 h 1004857"/>
                <a:gd name="connsiteX7" fmla="*/ 3993304 w 3993304"/>
                <a:gd name="connsiteY7" fmla="*/ 640098 h 1004857"/>
                <a:gd name="connsiteX8" fmla="*/ 3737113 w 3993304"/>
                <a:gd name="connsiteY8" fmla="*/ 1004857 h 1004857"/>
                <a:gd name="connsiteX9" fmla="*/ 3737113 w 3993304"/>
                <a:gd name="connsiteY9" fmla="*/ 1004423 h 1004857"/>
                <a:gd name="connsiteX10" fmla="*/ 0 w 3993304"/>
                <a:gd name="connsiteY10" fmla="*/ 1004423 h 1004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93304" h="1004857">
                  <a:moveTo>
                    <a:pt x="0" y="0"/>
                  </a:moveTo>
                  <a:lnTo>
                    <a:pt x="56599" y="0"/>
                  </a:lnTo>
                  <a:lnTo>
                    <a:pt x="56599" y="943390"/>
                  </a:lnTo>
                  <a:lnTo>
                    <a:pt x="3682448" y="943390"/>
                  </a:lnTo>
                  <a:lnTo>
                    <a:pt x="3682448" y="0"/>
                  </a:lnTo>
                  <a:lnTo>
                    <a:pt x="3737113" y="0"/>
                  </a:lnTo>
                  <a:lnTo>
                    <a:pt x="3737113" y="275340"/>
                  </a:lnTo>
                  <a:lnTo>
                    <a:pt x="3993304" y="640098"/>
                  </a:lnTo>
                  <a:lnTo>
                    <a:pt x="3737113" y="1004857"/>
                  </a:lnTo>
                  <a:lnTo>
                    <a:pt x="3737113" y="1004423"/>
                  </a:lnTo>
                  <a:lnTo>
                    <a:pt x="0" y="100442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r>
                <a:rPr lang="en-US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Who is </a:t>
              </a:r>
              <a:r>
                <a:rPr lang="en-US" sz="20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A</a:t>
              </a:r>
              <a:r>
                <a:rPr lang="en-US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COUNTABLE</a:t>
              </a:r>
              <a:endParaRPr lang="en-US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Double Brace 72"/>
            <p:cNvSpPr/>
            <p:nvPr/>
          </p:nvSpPr>
          <p:spPr>
            <a:xfrm>
              <a:off x="5225143" y="2798286"/>
              <a:ext cx="3404811" cy="742658"/>
            </a:xfrm>
            <a:prstGeom prst="brace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The person who takes the </a:t>
              </a:r>
              <a:r>
                <a:rPr lang="en-US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final decision</a:t>
              </a:r>
              <a:r>
                <a:rPr lang="en-US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 and has </a:t>
              </a:r>
              <a:r>
                <a:rPr lang="en-US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ultimate ownership</a:t>
              </a:r>
              <a:r>
                <a:rPr lang="en-US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.</a:t>
              </a:r>
              <a:endPara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381000" y="3420451"/>
            <a:ext cx="7702296" cy="1139083"/>
            <a:chOff x="927658" y="3675306"/>
            <a:chExt cx="7702296" cy="1139083"/>
          </a:xfrm>
        </p:grpSpPr>
        <p:sp>
          <p:nvSpPr>
            <p:cNvPr id="58" name="Freeform 57"/>
            <p:cNvSpPr/>
            <p:nvPr/>
          </p:nvSpPr>
          <p:spPr>
            <a:xfrm>
              <a:off x="927658" y="3675307"/>
              <a:ext cx="1065144" cy="1139082"/>
            </a:xfrm>
            <a:custGeom>
              <a:avLst/>
              <a:gdLst>
                <a:gd name="connsiteX0" fmla="*/ 0 w 2019300"/>
                <a:gd name="connsiteY0" fmla="*/ 0 h 1139082"/>
                <a:gd name="connsiteX1" fmla="*/ 1781059 w 2019300"/>
                <a:gd name="connsiteY1" fmla="*/ 0 h 1139082"/>
                <a:gd name="connsiteX2" fmla="*/ 1787481 w 2019300"/>
                <a:gd name="connsiteY2" fmla="*/ 40940 h 1139082"/>
                <a:gd name="connsiteX3" fmla="*/ 1898650 w 2019300"/>
                <a:gd name="connsiteY3" fmla="*/ 135782 h 1139082"/>
                <a:gd name="connsiteX4" fmla="*/ 2009820 w 2019300"/>
                <a:gd name="connsiteY4" fmla="*/ 40940 h 1139082"/>
                <a:gd name="connsiteX5" fmla="*/ 2016242 w 2019300"/>
                <a:gd name="connsiteY5" fmla="*/ 0 h 1139082"/>
                <a:gd name="connsiteX6" fmla="*/ 2019300 w 2019300"/>
                <a:gd name="connsiteY6" fmla="*/ 0 h 1139082"/>
                <a:gd name="connsiteX7" fmla="*/ 2019300 w 2019300"/>
                <a:gd name="connsiteY7" fmla="*/ 329163 h 1139082"/>
                <a:gd name="connsiteX8" fmla="*/ 2019300 w 2019300"/>
                <a:gd name="connsiteY8" fmla="*/ 983801 h 1139082"/>
                <a:gd name="connsiteX9" fmla="*/ 2019300 w 2019300"/>
                <a:gd name="connsiteY9" fmla="*/ 1003300 h 1139082"/>
                <a:gd name="connsiteX10" fmla="*/ 2016242 w 2019300"/>
                <a:gd name="connsiteY10" fmla="*/ 1003300 h 1139082"/>
                <a:gd name="connsiteX11" fmla="*/ 2009820 w 2019300"/>
                <a:gd name="connsiteY11" fmla="*/ 1044240 h 1139082"/>
                <a:gd name="connsiteX12" fmla="*/ 1898650 w 2019300"/>
                <a:gd name="connsiteY12" fmla="*/ 1139082 h 1139082"/>
                <a:gd name="connsiteX13" fmla="*/ 1787481 w 2019300"/>
                <a:gd name="connsiteY13" fmla="*/ 1044240 h 1139082"/>
                <a:gd name="connsiteX14" fmla="*/ 1781059 w 2019300"/>
                <a:gd name="connsiteY14" fmla="*/ 1003300 h 1139082"/>
                <a:gd name="connsiteX15" fmla="*/ 0 w 2019300"/>
                <a:gd name="connsiteY15" fmla="*/ 1003300 h 1139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19300" h="1139082">
                  <a:moveTo>
                    <a:pt x="0" y="0"/>
                  </a:moveTo>
                  <a:lnTo>
                    <a:pt x="1781059" y="0"/>
                  </a:lnTo>
                  <a:lnTo>
                    <a:pt x="1787481" y="40940"/>
                  </a:lnTo>
                  <a:cubicBezTo>
                    <a:pt x="1805796" y="96671"/>
                    <a:pt x="1848673" y="135782"/>
                    <a:pt x="1898650" y="135782"/>
                  </a:cubicBezTo>
                  <a:cubicBezTo>
                    <a:pt x="1948628" y="135782"/>
                    <a:pt x="1991505" y="96671"/>
                    <a:pt x="2009820" y="40940"/>
                  </a:cubicBezTo>
                  <a:lnTo>
                    <a:pt x="2016242" y="0"/>
                  </a:lnTo>
                  <a:lnTo>
                    <a:pt x="2019300" y="0"/>
                  </a:lnTo>
                  <a:lnTo>
                    <a:pt x="2019300" y="329163"/>
                  </a:lnTo>
                  <a:lnTo>
                    <a:pt x="2019300" y="983801"/>
                  </a:lnTo>
                  <a:lnTo>
                    <a:pt x="2019300" y="1003300"/>
                  </a:lnTo>
                  <a:lnTo>
                    <a:pt x="2016242" y="1003300"/>
                  </a:lnTo>
                  <a:lnTo>
                    <a:pt x="2009820" y="1044240"/>
                  </a:lnTo>
                  <a:cubicBezTo>
                    <a:pt x="1991505" y="1099971"/>
                    <a:pt x="1948628" y="1139082"/>
                    <a:pt x="1898650" y="1139082"/>
                  </a:cubicBezTo>
                  <a:cubicBezTo>
                    <a:pt x="1848673" y="1139082"/>
                    <a:pt x="1805796" y="1099971"/>
                    <a:pt x="1787481" y="1044240"/>
                  </a:cubicBezTo>
                  <a:lnTo>
                    <a:pt x="1781059" y="1003300"/>
                  </a:lnTo>
                  <a:lnTo>
                    <a:pt x="0" y="1003300"/>
                  </a:lnTo>
                  <a:close/>
                </a:path>
              </a:pathLst>
            </a:cu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sz="3600" b="1" dirty="0" smtClean="0">
                  <a:solidFill>
                    <a:schemeClr val="bg1"/>
                  </a:solidFill>
                </a:rPr>
                <a:t>C</a:t>
              </a:r>
              <a:endParaRPr lang="en-US" sz="3600" b="1" dirty="0">
                <a:solidFill>
                  <a:schemeClr val="bg1"/>
                </a:solidFill>
              </a:endParaRPr>
            </a:p>
          </p:txBody>
        </p:sp>
        <p:sp>
          <p:nvSpPr>
            <p:cNvPr id="67" name="Freeform 66"/>
            <p:cNvSpPr/>
            <p:nvPr/>
          </p:nvSpPr>
          <p:spPr>
            <a:xfrm>
              <a:off x="2096045" y="3675306"/>
              <a:ext cx="2788007" cy="1004857"/>
            </a:xfrm>
            <a:custGeom>
              <a:avLst/>
              <a:gdLst>
                <a:gd name="connsiteX0" fmla="*/ 0 w 3993304"/>
                <a:gd name="connsiteY0" fmla="*/ 0 h 1004857"/>
                <a:gd name="connsiteX1" fmla="*/ 56599 w 3993304"/>
                <a:gd name="connsiteY1" fmla="*/ 0 h 1004857"/>
                <a:gd name="connsiteX2" fmla="*/ 56599 w 3993304"/>
                <a:gd name="connsiteY2" fmla="*/ 943390 h 1004857"/>
                <a:gd name="connsiteX3" fmla="*/ 3682448 w 3993304"/>
                <a:gd name="connsiteY3" fmla="*/ 943390 h 1004857"/>
                <a:gd name="connsiteX4" fmla="*/ 3682448 w 3993304"/>
                <a:gd name="connsiteY4" fmla="*/ 0 h 1004857"/>
                <a:gd name="connsiteX5" fmla="*/ 3737113 w 3993304"/>
                <a:gd name="connsiteY5" fmla="*/ 0 h 1004857"/>
                <a:gd name="connsiteX6" fmla="*/ 3737113 w 3993304"/>
                <a:gd name="connsiteY6" fmla="*/ 275340 h 1004857"/>
                <a:gd name="connsiteX7" fmla="*/ 3993304 w 3993304"/>
                <a:gd name="connsiteY7" fmla="*/ 640098 h 1004857"/>
                <a:gd name="connsiteX8" fmla="*/ 3737113 w 3993304"/>
                <a:gd name="connsiteY8" fmla="*/ 1004857 h 1004857"/>
                <a:gd name="connsiteX9" fmla="*/ 3737113 w 3993304"/>
                <a:gd name="connsiteY9" fmla="*/ 1004423 h 1004857"/>
                <a:gd name="connsiteX10" fmla="*/ 0 w 3993304"/>
                <a:gd name="connsiteY10" fmla="*/ 1004423 h 1004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93304" h="1004857">
                  <a:moveTo>
                    <a:pt x="0" y="0"/>
                  </a:moveTo>
                  <a:lnTo>
                    <a:pt x="56599" y="0"/>
                  </a:lnTo>
                  <a:lnTo>
                    <a:pt x="56599" y="943390"/>
                  </a:lnTo>
                  <a:lnTo>
                    <a:pt x="3682448" y="943390"/>
                  </a:lnTo>
                  <a:lnTo>
                    <a:pt x="3682448" y="0"/>
                  </a:lnTo>
                  <a:lnTo>
                    <a:pt x="3737113" y="0"/>
                  </a:lnTo>
                  <a:lnTo>
                    <a:pt x="3737113" y="275340"/>
                  </a:lnTo>
                  <a:lnTo>
                    <a:pt x="3993304" y="640098"/>
                  </a:lnTo>
                  <a:lnTo>
                    <a:pt x="3737113" y="1004857"/>
                  </a:lnTo>
                  <a:lnTo>
                    <a:pt x="3737113" y="1004423"/>
                  </a:lnTo>
                  <a:lnTo>
                    <a:pt x="0" y="100442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r>
                <a:rPr lang="en-US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Who is </a:t>
              </a:r>
              <a:r>
                <a:rPr lang="en-US" sz="20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</a:t>
              </a:r>
              <a:r>
                <a:rPr lang="en-US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ONSULTED</a:t>
              </a:r>
              <a:endParaRPr lang="en-US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4" name="Double Brace 73"/>
            <p:cNvSpPr/>
            <p:nvPr/>
          </p:nvSpPr>
          <p:spPr>
            <a:xfrm>
              <a:off x="5225143" y="3799229"/>
              <a:ext cx="3404811" cy="742658"/>
            </a:xfrm>
            <a:prstGeom prst="brace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The person who must be consulted </a:t>
              </a:r>
              <a:r>
                <a:rPr lang="en-US" sz="1400" b="1" dirty="0" smtClean="0">
                  <a:solidFill>
                    <a:schemeClr val="accent4"/>
                  </a:solidFill>
                </a:rPr>
                <a:t>before</a:t>
              </a:r>
              <a:r>
                <a:rPr lang="en-US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 a decision/ action is taken.</a:t>
              </a:r>
              <a:endPara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81000" y="4424874"/>
            <a:ext cx="7702296" cy="1004857"/>
            <a:chOff x="927658" y="4679729"/>
            <a:chExt cx="7702296" cy="1004857"/>
          </a:xfrm>
        </p:grpSpPr>
        <p:sp>
          <p:nvSpPr>
            <p:cNvPr id="56" name="Freeform 55"/>
            <p:cNvSpPr/>
            <p:nvPr/>
          </p:nvSpPr>
          <p:spPr>
            <a:xfrm>
              <a:off x="927658" y="4679729"/>
              <a:ext cx="1065144" cy="1003300"/>
            </a:xfrm>
            <a:custGeom>
              <a:avLst/>
              <a:gdLst>
                <a:gd name="connsiteX0" fmla="*/ 0 w 2019300"/>
                <a:gd name="connsiteY0" fmla="*/ 0 h 1003300"/>
                <a:gd name="connsiteX1" fmla="*/ 1781059 w 2019300"/>
                <a:gd name="connsiteY1" fmla="*/ 0 h 1003300"/>
                <a:gd name="connsiteX2" fmla="*/ 1787481 w 2019300"/>
                <a:gd name="connsiteY2" fmla="*/ 40940 h 1003300"/>
                <a:gd name="connsiteX3" fmla="*/ 1898650 w 2019300"/>
                <a:gd name="connsiteY3" fmla="*/ 135782 h 1003300"/>
                <a:gd name="connsiteX4" fmla="*/ 2009820 w 2019300"/>
                <a:gd name="connsiteY4" fmla="*/ 40940 h 1003300"/>
                <a:gd name="connsiteX5" fmla="*/ 2016242 w 2019300"/>
                <a:gd name="connsiteY5" fmla="*/ 0 h 1003300"/>
                <a:gd name="connsiteX6" fmla="*/ 2019300 w 2019300"/>
                <a:gd name="connsiteY6" fmla="*/ 0 h 1003300"/>
                <a:gd name="connsiteX7" fmla="*/ 2019300 w 2019300"/>
                <a:gd name="connsiteY7" fmla="*/ 1003300 h 1003300"/>
                <a:gd name="connsiteX8" fmla="*/ 0 w 2019300"/>
                <a:gd name="connsiteY8" fmla="*/ 1003300 h 1003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19300" h="1003300">
                  <a:moveTo>
                    <a:pt x="0" y="0"/>
                  </a:moveTo>
                  <a:lnTo>
                    <a:pt x="1781059" y="0"/>
                  </a:lnTo>
                  <a:lnTo>
                    <a:pt x="1787481" y="40940"/>
                  </a:lnTo>
                  <a:cubicBezTo>
                    <a:pt x="1805796" y="96671"/>
                    <a:pt x="1848673" y="135782"/>
                    <a:pt x="1898650" y="135782"/>
                  </a:cubicBezTo>
                  <a:cubicBezTo>
                    <a:pt x="1948628" y="135782"/>
                    <a:pt x="1991505" y="96671"/>
                    <a:pt x="2009820" y="40940"/>
                  </a:cubicBezTo>
                  <a:lnTo>
                    <a:pt x="2016242" y="0"/>
                  </a:lnTo>
                  <a:lnTo>
                    <a:pt x="2019300" y="0"/>
                  </a:lnTo>
                  <a:lnTo>
                    <a:pt x="2019300" y="1003300"/>
                  </a:lnTo>
                  <a:lnTo>
                    <a:pt x="0" y="1003300"/>
                  </a:lnTo>
                  <a:close/>
                </a:path>
              </a:pathLst>
            </a:custGeom>
            <a:solidFill>
              <a:schemeClr val="accent6"/>
            </a:solidFill>
            <a:ln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sz="3600" b="1" dirty="0" smtClean="0">
                  <a:solidFill>
                    <a:schemeClr val="bg1"/>
                  </a:solidFill>
                </a:rPr>
                <a:t>I</a:t>
              </a:r>
              <a:endParaRPr lang="en-US" sz="3600" b="1" dirty="0">
                <a:solidFill>
                  <a:schemeClr val="bg1"/>
                </a:solidFill>
              </a:endParaRPr>
            </a:p>
          </p:txBody>
        </p:sp>
        <p:sp>
          <p:nvSpPr>
            <p:cNvPr id="68" name="Freeform 67"/>
            <p:cNvSpPr/>
            <p:nvPr/>
          </p:nvSpPr>
          <p:spPr>
            <a:xfrm>
              <a:off x="2096045" y="4679729"/>
              <a:ext cx="2788007" cy="1004857"/>
            </a:xfrm>
            <a:custGeom>
              <a:avLst/>
              <a:gdLst>
                <a:gd name="connsiteX0" fmla="*/ 0 w 3993304"/>
                <a:gd name="connsiteY0" fmla="*/ 0 h 1004857"/>
                <a:gd name="connsiteX1" fmla="*/ 56599 w 3993304"/>
                <a:gd name="connsiteY1" fmla="*/ 0 h 1004857"/>
                <a:gd name="connsiteX2" fmla="*/ 56599 w 3993304"/>
                <a:gd name="connsiteY2" fmla="*/ 943390 h 1004857"/>
                <a:gd name="connsiteX3" fmla="*/ 3682448 w 3993304"/>
                <a:gd name="connsiteY3" fmla="*/ 943390 h 1004857"/>
                <a:gd name="connsiteX4" fmla="*/ 3682448 w 3993304"/>
                <a:gd name="connsiteY4" fmla="*/ 0 h 1004857"/>
                <a:gd name="connsiteX5" fmla="*/ 3737113 w 3993304"/>
                <a:gd name="connsiteY5" fmla="*/ 0 h 1004857"/>
                <a:gd name="connsiteX6" fmla="*/ 3737113 w 3993304"/>
                <a:gd name="connsiteY6" fmla="*/ 275340 h 1004857"/>
                <a:gd name="connsiteX7" fmla="*/ 3993304 w 3993304"/>
                <a:gd name="connsiteY7" fmla="*/ 640098 h 1004857"/>
                <a:gd name="connsiteX8" fmla="*/ 3737113 w 3993304"/>
                <a:gd name="connsiteY8" fmla="*/ 1004857 h 1004857"/>
                <a:gd name="connsiteX9" fmla="*/ 3737113 w 3993304"/>
                <a:gd name="connsiteY9" fmla="*/ 1004423 h 1004857"/>
                <a:gd name="connsiteX10" fmla="*/ 0 w 3993304"/>
                <a:gd name="connsiteY10" fmla="*/ 1004423 h 1004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93304" h="1004857">
                  <a:moveTo>
                    <a:pt x="0" y="0"/>
                  </a:moveTo>
                  <a:lnTo>
                    <a:pt x="56599" y="0"/>
                  </a:lnTo>
                  <a:lnTo>
                    <a:pt x="56599" y="943390"/>
                  </a:lnTo>
                  <a:lnTo>
                    <a:pt x="3682448" y="943390"/>
                  </a:lnTo>
                  <a:lnTo>
                    <a:pt x="3682448" y="0"/>
                  </a:lnTo>
                  <a:lnTo>
                    <a:pt x="3737113" y="0"/>
                  </a:lnTo>
                  <a:lnTo>
                    <a:pt x="3737113" y="275340"/>
                  </a:lnTo>
                  <a:lnTo>
                    <a:pt x="3993304" y="640098"/>
                  </a:lnTo>
                  <a:lnTo>
                    <a:pt x="3737113" y="1004857"/>
                  </a:lnTo>
                  <a:lnTo>
                    <a:pt x="3737113" y="1004423"/>
                  </a:lnTo>
                  <a:lnTo>
                    <a:pt x="0" y="100442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r>
                <a:rPr lang="en-US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Who is </a:t>
              </a:r>
              <a:r>
                <a:rPr lang="en-US" sz="20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</a:t>
              </a:r>
              <a:r>
                <a:rPr lang="en-US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NFORMED</a:t>
              </a:r>
              <a:endParaRPr lang="en-US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5" name="Double Brace 74"/>
            <p:cNvSpPr/>
            <p:nvPr/>
          </p:nvSpPr>
          <p:spPr>
            <a:xfrm>
              <a:off x="5225143" y="4800172"/>
              <a:ext cx="3404811" cy="742658"/>
            </a:xfrm>
            <a:prstGeom prst="brace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The person who must be informed </a:t>
              </a:r>
              <a:r>
                <a:rPr lang="en-US" sz="1400" b="1" dirty="0" smtClean="0">
                  <a:solidFill>
                    <a:schemeClr val="accent6"/>
                  </a:solidFill>
                </a:rPr>
                <a:t>about</a:t>
              </a:r>
              <a:r>
                <a:rPr lang="en-US" sz="1400" dirty="0" smtClean="0">
                  <a:solidFill>
                    <a:schemeClr val="accent6"/>
                  </a:solidFill>
                </a:rPr>
                <a:t> </a:t>
              </a:r>
              <a:r>
                <a:rPr lang="en-US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the decision/ action taken.</a:t>
              </a:r>
              <a:endParaRPr lang="en-US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1392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CI Matrix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6617819"/>
              </p:ext>
            </p:extLst>
          </p:nvPr>
        </p:nvGraphicFramePr>
        <p:xfrm>
          <a:off x="371476" y="1419225"/>
          <a:ext cx="8391524" cy="362131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14329"/>
                <a:gridCol w="1215439"/>
                <a:gridCol w="1215439"/>
                <a:gridCol w="1215439"/>
                <a:gridCol w="1215439"/>
                <a:gridCol w="1215439"/>
              </a:tblGrid>
              <a:tr h="602568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FUNCTION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Project Owner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Business SME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Business Analyst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Project Manager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Software Engineer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43124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roject planning</a:t>
                      </a:r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</a:t>
                      </a:r>
                      <a:endParaRPr lang="en-US" sz="14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4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kumimoji="0" lang="en-US" sz="1400" b="1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kumimoji="0" lang="en-US" sz="14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kumimoji="0" lang="en-US" sz="14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3124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roject initiation</a:t>
                      </a:r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kumimoji="0" lang="en-US" sz="1400" b="1" kern="12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kumimoji="0" lang="en-US" sz="1400" b="1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kumimoji="0" lang="en-US" sz="1400" b="1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kumimoji="0" lang="en-US" sz="14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kumimoji="0" lang="en-US" sz="14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3124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Business requirements</a:t>
                      </a:r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kumimoji="0" lang="en-US" sz="14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kumimoji="0" lang="en-US" sz="1400" b="1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</a:t>
                      </a:r>
                      <a:endParaRPr lang="en-US" sz="14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kumimoji="0" lang="en-US" sz="14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kumimoji="0" lang="en-US" sz="14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3124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Solution</a:t>
                      </a:r>
                      <a:r>
                        <a:rPr lang="en-US" sz="14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design</a:t>
                      </a:r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kumimoji="0" lang="en-US" sz="14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kumimoji="0" lang="en-US" sz="14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kumimoji="0" lang="en-US" sz="1400" b="1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kumimoji="0" lang="en-US" sz="14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kumimoji="0" lang="en-US" sz="14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3124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Alpha testing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kumimoji="0" lang="en-US" sz="14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kumimoji="0" lang="en-US" sz="14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kumimoji="0" lang="en-US" sz="1400" b="1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</a:t>
                      </a:r>
                      <a:endParaRPr lang="en-US" sz="1400" b="1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kumimoji="0" lang="en-US" sz="14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3124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Beta testing</a:t>
                      </a:r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kumimoji="0" lang="en-US" sz="1400" b="1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kumimoji="0" lang="en-US" sz="14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kumimoji="0" lang="en-US" sz="1400" b="1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kumimoji="0" lang="en-US" sz="1400" b="1" kern="12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kumimoji="0" lang="en-US" sz="1400" b="1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3124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Solution</a:t>
                      </a:r>
                      <a:r>
                        <a:rPr lang="en-US" sz="14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delivery</a:t>
                      </a:r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kumimoji="0" lang="en-US" sz="1400" b="1" kern="12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kumimoji="0" lang="en-US" sz="14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kumimoji="0" lang="en-US" sz="1400" b="1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kumimoji="0" lang="en-US" sz="14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en-US" sz="1400" b="1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kumimoji="0" lang="en-US" sz="1400" b="1" kern="12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14" name="Group 13"/>
          <p:cNvGrpSpPr/>
          <p:nvPr/>
        </p:nvGrpSpPr>
        <p:grpSpPr>
          <a:xfrm>
            <a:off x="381000" y="5332223"/>
            <a:ext cx="4205514" cy="963349"/>
            <a:chOff x="381000" y="5666051"/>
            <a:chExt cx="4205514" cy="963349"/>
          </a:xfrm>
        </p:grpSpPr>
        <p:sp>
          <p:nvSpPr>
            <p:cNvPr id="12" name="Rectangle 11"/>
            <p:cNvSpPr/>
            <p:nvPr/>
          </p:nvSpPr>
          <p:spPr>
            <a:xfrm>
              <a:off x="381000" y="5666051"/>
              <a:ext cx="4205514" cy="963349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8" name="Rectangle 7"/>
            <p:cNvSpPr/>
            <p:nvPr/>
          </p:nvSpPr>
          <p:spPr>
            <a:xfrm>
              <a:off x="711910" y="5869251"/>
              <a:ext cx="270891" cy="2708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none" lIns="1645920" rtlCol="0" anchor="ctr"/>
            <a:lstStyle/>
            <a:p>
              <a:pPr algn="ctr"/>
              <a:r>
                <a:rPr lang="en-US" sz="1600" b="1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RESPONSIBLE</a:t>
              </a:r>
              <a:endPara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711910" y="6213929"/>
              <a:ext cx="270891" cy="2708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none" lIns="1737360" rtlCol="0" anchor="ctr"/>
            <a:lstStyle/>
            <a:p>
              <a:pPr algn="ctr"/>
              <a:r>
                <a:rPr lang="en-IN" sz="1600" b="1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ACCOUNTABLE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2889224" y="5869251"/>
              <a:ext cx="270891" cy="2708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none" lIns="1554480" rtlCol="0" anchor="ctr"/>
            <a:lstStyle/>
            <a:p>
              <a:pPr algn="ctr"/>
              <a:r>
                <a:rPr lang="en-IN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SULTED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889224" y="6213929"/>
              <a:ext cx="270891" cy="270891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none" lIns="1554480" rtlCol="0" anchor="ctr"/>
            <a:lstStyle/>
            <a:p>
              <a:pPr algn="ctr"/>
              <a:r>
                <a:rPr lang="en-IN" sz="1600" b="1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FORM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92014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CI Matrix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2031708"/>
              </p:ext>
            </p:extLst>
          </p:nvPr>
        </p:nvGraphicFramePr>
        <p:xfrm>
          <a:off x="365126" y="1419228"/>
          <a:ext cx="8413747" cy="48145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1065"/>
                <a:gridCol w="2557670"/>
                <a:gridCol w="1263753"/>
                <a:gridCol w="1263753"/>
                <a:gridCol w="1263753"/>
                <a:gridCol w="1263753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bg1"/>
                          </a:solidFill>
                        </a:rPr>
                        <a:t>R</a:t>
                      </a:r>
                      <a:endParaRPr lang="en-US" sz="2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roject</a:t>
                      </a:r>
                      <a:r>
                        <a:rPr lang="en-US" sz="16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</a:t>
                      </a:r>
                      <a:r>
                        <a:rPr lang="en-US" sz="1600" b="1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R</a:t>
                      </a:r>
                      <a:r>
                        <a:rPr lang="en-US" sz="16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esponsibility</a:t>
                      </a:r>
                      <a:endParaRPr lang="en-US" sz="160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roject Manager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roject Sponsor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roject</a:t>
                      </a:r>
                      <a:r>
                        <a:rPr lang="en-US" sz="16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Analyst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Technical Specialist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2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roject</a:t>
                      </a:r>
                      <a:r>
                        <a:rPr lang="en-US" sz="16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</a:t>
                      </a:r>
                      <a:r>
                        <a:rPr lang="en-US" sz="1600" b="1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A</a:t>
                      </a:r>
                      <a:r>
                        <a:rPr lang="en-US" sz="16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ccountability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/>
                      <a:endParaRPr lang="en-US"/>
                    </a:p>
                  </a:txBody>
                  <a:tcPr vert="vert270"/>
                </a:tc>
                <a:tc vMerge="1">
                  <a:txBody>
                    <a:bodyPr/>
                    <a:lstStyle/>
                    <a:p>
                      <a:pPr algn="l"/>
                      <a:endParaRPr lang="en-US"/>
                    </a:p>
                  </a:txBody>
                  <a:tcPr vert="vert270"/>
                </a:tc>
                <a:tc vMerge="1">
                  <a:txBody>
                    <a:bodyPr/>
                    <a:lstStyle/>
                    <a:p>
                      <a:pPr algn="l"/>
                      <a:endParaRPr lang="en-US"/>
                    </a:p>
                  </a:txBody>
                  <a:tcPr vert="vert270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2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roject </a:t>
                      </a:r>
                      <a:r>
                        <a:rPr lang="en-US" sz="16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C</a:t>
                      </a:r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onsultant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 vert="vert270"/>
                </a:tc>
                <a:tc v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 vert="vert270"/>
                </a:tc>
                <a:tc v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 vert="vert270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2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roject </a:t>
                      </a:r>
                      <a:r>
                        <a:rPr lang="en-US" sz="16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I</a:t>
                      </a:r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nform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 vert="vert270"/>
                </a:tc>
                <a:tc v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 vert="vert270"/>
                </a:tc>
                <a:tc v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 vert="vert270"/>
                </a:tc>
              </a:tr>
              <a:tr h="473470"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 smtClean="0">
                          <a:solidFill>
                            <a:schemeClr val="bg2"/>
                          </a:solidFill>
                        </a:rPr>
                        <a:t>PROJECT</a:t>
                      </a:r>
                      <a:r>
                        <a:rPr lang="en-US" sz="2400" b="1" baseline="0" dirty="0" smtClean="0">
                          <a:solidFill>
                            <a:schemeClr val="bg2"/>
                          </a:solidFill>
                        </a:rPr>
                        <a:t> INITIATION PHASES</a:t>
                      </a:r>
                      <a:endParaRPr lang="en-US" sz="2400" b="1" dirty="0" smtClean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93736">
                <a:tc gridSpan="2"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Define project purpose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</a:t>
                      </a:r>
                      <a:endParaRPr lang="en-U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</a:t>
                      </a:r>
                      <a:endParaRPr lang="en-US" sz="16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</a:t>
                      </a:r>
                      <a:endParaRPr lang="en-US" sz="1600" b="1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3736">
                <a:tc gridSpan="2"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Define the scope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</a:t>
                      </a:r>
                      <a:endParaRPr lang="en-U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</a:t>
                      </a:r>
                      <a:endParaRPr lang="en-US" sz="16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</a:t>
                      </a:r>
                      <a:endParaRPr lang="en-US" sz="1600" b="1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3736">
                <a:tc gridSpan="2"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Define deliverables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</a:t>
                      </a:r>
                      <a:endParaRPr lang="en-US" sz="16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</a:t>
                      </a:r>
                      <a:endParaRPr lang="en-U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3736">
                <a:tc gridSpan="2"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Governance</a:t>
                      </a:r>
                      <a:r>
                        <a:rPr lang="en-US" sz="16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structure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</a:t>
                      </a:r>
                      <a:endParaRPr lang="en-U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</a:t>
                      </a:r>
                      <a:endParaRPr lang="en-US" sz="16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</a:t>
                      </a:r>
                      <a:endParaRPr lang="en-US" sz="1600" b="1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3736">
                <a:tc gridSpan="2"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Implementation approach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</a:t>
                      </a:r>
                      <a:endParaRPr lang="en-US" sz="16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</a:t>
                      </a:r>
                      <a:endParaRPr lang="en-U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3736">
                <a:tc gridSpan="2"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Risks and concerns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</a:t>
                      </a:r>
                      <a:endParaRPr lang="en-US" sz="16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</a:t>
                      </a:r>
                      <a:endParaRPr lang="en-US" sz="1600" b="1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</a:t>
                      </a:r>
                      <a:endParaRPr lang="en-U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3736">
                <a:tc gridSpan="2"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roject</a:t>
                      </a:r>
                      <a:r>
                        <a:rPr lang="en-US" sz="16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Charter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</a:t>
                      </a:r>
                      <a:endParaRPr lang="en-U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</a:t>
                      </a:r>
                      <a:endParaRPr lang="en-US" sz="16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</a:t>
                      </a:r>
                      <a:endParaRPr lang="en-US" sz="1600" b="1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4729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CI Matrix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6195415"/>
              </p:ext>
            </p:extLst>
          </p:nvPr>
        </p:nvGraphicFramePr>
        <p:xfrm>
          <a:off x="371475" y="1547241"/>
          <a:ext cx="8391524" cy="33352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9864"/>
                <a:gridCol w="1260415"/>
                <a:gridCol w="1260415"/>
                <a:gridCol w="1260415"/>
                <a:gridCol w="1260415"/>
              </a:tblGrid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solidFill>
                            <a:schemeClr val="bg1"/>
                          </a:solidFill>
                        </a:rPr>
                        <a:t>PROJECT</a:t>
                      </a:r>
                      <a:r>
                        <a:rPr lang="en-US" sz="2000" b="1" baseline="0" dirty="0" smtClean="0">
                          <a:solidFill>
                            <a:schemeClr val="bg1"/>
                          </a:solidFill>
                        </a:rPr>
                        <a:t> INITIATION PHASES</a:t>
                      </a:r>
                      <a:endParaRPr lang="en-US" sz="2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bg1"/>
                          </a:solidFill>
                        </a:rPr>
                        <a:t>Project Manager</a:t>
                      </a: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bg1"/>
                          </a:solidFill>
                        </a:rPr>
                        <a:t>Project Sponsor</a:t>
                      </a: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bg1"/>
                          </a:solidFill>
                        </a:rPr>
                        <a:t>Project</a:t>
                      </a:r>
                      <a:r>
                        <a:rPr lang="en-US" sz="1600" baseline="0" dirty="0" smtClean="0">
                          <a:solidFill>
                            <a:schemeClr val="bg1"/>
                          </a:solidFill>
                        </a:rPr>
                        <a:t> Analyst</a:t>
                      </a: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bg1"/>
                          </a:solidFill>
                        </a:rPr>
                        <a:t>Technical Specialist</a:t>
                      </a: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  <a:tr h="393736"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Define project purpose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</a:t>
                      </a:r>
                      <a:endParaRPr lang="en-U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</a:t>
                      </a:r>
                      <a:endParaRPr lang="en-US" sz="16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</a:t>
                      </a:r>
                      <a:endParaRPr lang="en-US" sz="1600" b="1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3736"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Define the scope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</a:t>
                      </a:r>
                      <a:endParaRPr lang="en-U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</a:t>
                      </a:r>
                      <a:endParaRPr lang="en-US" sz="16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</a:t>
                      </a:r>
                      <a:endParaRPr lang="en-US" sz="1600" b="1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3736"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Define deliverables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</a:t>
                      </a:r>
                      <a:endParaRPr lang="en-US" sz="16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</a:t>
                      </a:r>
                      <a:endParaRPr lang="en-U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3736"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Governance</a:t>
                      </a:r>
                      <a:r>
                        <a:rPr lang="en-US" sz="16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structure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</a:t>
                      </a:r>
                      <a:endParaRPr lang="en-U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</a:t>
                      </a:r>
                      <a:endParaRPr lang="en-US" sz="16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</a:t>
                      </a:r>
                      <a:endParaRPr lang="en-US" sz="1600" b="1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3736"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Implementation approach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</a:t>
                      </a:r>
                      <a:endParaRPr lang="en-US" sz="16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</a:t>
                      </a:r>
                      <a:endParaRPr lang="en-U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3736"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Risks and concerns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</a:t>
                      </a:r>
                      <a:endParaRPr lang="en-US" sz="16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</a:t>
                      </a:r>
                      <a:endParaRPr lang="en-US" sz="1600" b="1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</a:t>
                      </a:r>
                      <a:endParaRPr lang="en-U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3736"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roject</a:t>
                      </a:r>
                      <a:r>
                        <a:rPr lang="en-US" sz="16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Charter</a:t>
                      </a:r>
                      <a:endParaRPr lang="en-US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</a:t>
                      </a:r>
                      <a:endParaRPr lang="en-U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</a:t>
                      </a:r>
                      <a:endParaRPr lang="en-US" sz="16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</a:rPr>
                        <a:t>C</a:t>
                      </a:r>
                      <a:endParaRPr lang="en-US" sz="1600" b="1" dirty="0">
                        <a:solidFill>
                          <a:schemeClr val="accent4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</a:t>
                      </a:r>
                      <a:endParaRPr lang="en-US" sz="1600" b="1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371475" y="5160064"/>
            <a:ext cx="1991554" cy="5118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2800" dirty="0" smtClean="0">
                <a:solidFill>
                  <a:schemeClr val="bg1"/>
                </a:solidFill>
              </a:rPr>
              <a:t>R</a:t>
            </a:r>
            <a:r>
              <a:rPr lang="en-US" dirty="0" smtClean="0">
                <a:solidFill>
                  <a:schemeClr val="bg1"/>
                </a:solidFill>
              </a:rPr>
              <a:t>esponsibilit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504799" y="5160064"/>
            <a:ext cx="1991554" cy="5118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</a:rPr>
              <a:t>A</a:t>
            </a:r>
            <a:r>
              <a:rPr lang="en-US" dirty="0" smtClean="0">
                <a:solidFill>
                  <a:schemeClr val="bg1"/>
                </a:solidFill>
              </a:rPr>
              <a:t>ccountabilit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38123" y="5160064"/>
            <a:ext cx="1991554" cy="51186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</a:rPr>
              <a:t>C</a:t>
            </a:r>
            <a:r>
              <a:rPr lang="en-US" dirty="0" smtClean="0">
                <a:solidFill>
                  <a:schemeClr val="bg1"/>
                </a:solidFill>
              </a:rPr>
              <a:t>onsulted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771447" y="5160064"/>
            <a:ext cx="1991554" cy="5118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</a:rPr>
              <a:t>I</a:t>
            </a:r>
            <a:r>
              <a:rPr lang="en-US" dirty="0" smtClean="0">
                <a:solidFill>
                  <a:schemeClr val="bg1"/>
                </a:solidFill>
              </a:rPr>
              <a:t>nformed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760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CI Matrix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7940920"/>
              </p:ext>
            </p:extLst>
          </p:nvPr>
        </p:nvGraphicFramePr>
        <p:xfrm>
          <a:off x="371477" y="1419220"/>
          <a:ext cx="8391520" cy="4808016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900256"/>
                <a:gridCol w="900256"/>
                <a:gridCol w="411938"/>
                <a:gridCol w="411938"/>
                <a:gridCol w="411938"/>
                <a:gridCol w="411938"/>
                <a:gridCol w="411938"/>
                <a:gridCol w="411938"/>
                <a:gridCol w="411938"/>
                <a:gridCol w="411938"/>
                <a:gridCol w="411938"/>
                <a:gridCol w="411938"/>
                <a:gridCol w="411938"/>
                <a:gridCol w="411938"/>
                <a:gridCol w="411938"/>
                <a:gridCol w="411938"/>
                <a:gridCol w="411938"/>
                <a:gridCol w="411938"/>
              </a:tblGrid>
              <a:tr h="434298"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ROLE</a:t>
                      </a:r>
                      <a:endParaRPr lang="en-US" sz="24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PLANNING</a:t>
                      </a: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</a:rPr>
                        <a:t> &amp; DEFINITION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EXECUTION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IMPLEMENTATION &amp; CLOSURE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</a:tr>
              <a:tr h="665924">
                <a:tc>
                  <a:txBody>
                    <a:bodyPr/>
                    <a:lstStyle/>
                    <a:p>
                      <a:pPr algn="ctr"/>
                      <a:r>
                        <a:rPr lang="en-US" sz="4000" b="1" dirty="0" smtClean="0">
                          <a:solidFill>
                            <a:schemeClr val="bg1"/>
                          </a:solidFill>
                        </a:rPr>
                        <a:t>R</a:t>
                      </a:r>
                      <a:endParaRPr lang="en-US" sz="4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4000" b="1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4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Project Management Plan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Resource Plans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Project</a:t>
                      </a:r>
                      <a:r>
                        <a:rPr lang="en-US" sz="12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 Schedule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 Light" panose="020F0302020204030204" pitchFamily="34" charset="0"/>
                        </a:rPr>
                        <a:t>Project Financing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Functional Requirements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Solution Design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Technical Specifications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Test</a:t>
                      </a:r>
                      <a:r>
                        <a:rPr lang="en-US" sz="12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 Plans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Unit Testing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Reporting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UAT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Solution</a:t>
                      </a:r>
                      <a:r>
                        <a:rPr lang="en-US" sz="12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 Deployment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Training Materials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Training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Transition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</a:rPr>
                        <a:t>Project Closure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65924">
                <a:tc>
                  <a:txBody>
                    <a:bodyPr/>
                    <a:lstStyle/>
                    <a:p>
                      <a:pPr algn="ctr"/>
                      <a:r>
                        <a:rPr lang="en-US" sz="4000" b="1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4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4000" b="1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4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68592">
                <a:tc gridSpan="2"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roject sponsors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</a:tr>
              <a:tr h="368592">
                <a:tc gridSpan="2"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Steering committee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368592">
                <a:tc gridSpan="2"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roject</a:t>
                      </a:r>
                      <a:r>
                        <a:rPr lang="en-US" sz="120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lead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R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  <a:tr h="368592">
                <a:tc gridSpan="2"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SME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R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R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R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R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R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</a:tr>
              <a:tr h="368592">
                <a:tc gridSpan="2"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Developers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368592">
                <a:tc gridSpan="2"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Data Analyst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368592">
                <a:tc gridSpan="2"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Infrastructure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R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R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R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R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</a:tr>
              <a:tr h="368592">
                <a:tc gridSpan="2"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Partners</a:t>
                      </a:r>
                      <a:endParaRPr lang="en-US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C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6625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RACI Triangle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381000" y="1419225"/>
            <a:ext cx="8397876" cy="4838492"/>
            <a:chOff x="1664208" y="1419225"/>
            <a:chExt cx="8397876" cy="4838492"/>
          </a:xfrm>
        </p:grpSpPr>
        <p:grpSp>
          <p:nvGrpSpPr>
            <p:cNvPr id="7" name="Group 6"/>
            <p:cNvGrpSpPr/>
            <p:nvPr/>
          </p:nvGrpSpPr>
          <p:grpSpPr>
            <a:xfrm>
              <a:off x="3809930" y="1419225"/>
              <a:ext cx="6252153" cy="1152144"/>
              <a:chOff x="3809930" y="1419225"/>
              <a:chExt cx="6252153" cy="1152144"/>
            </a:xfrm>
          </p:grpSpPr>
          <p:sp>
            <p:nvSpPr>
              <p:cNvPr id="62" name="Freeform 61"/>
              <p:cNvSpPr/>
              <p:nvPr/>
            </p:nvSpPr>
            <p:spPr>
              <a:xfrm>
                <a:off x="3809930" y="1419225"/>
                <a:ext cx="670631" cy="1152144"/>
              </a:xfrm>
              <a:custGeom>
                <a:avLst/>
                <a:gdLst>
                  <a:gd name="connsiteX0" fmla="*/ 670631 w 670631"/>
                  <a:gd name="connsiteY0" fmla="*/ 0 h 1152144"/>
                  <a:gd name="connsiteX1" fmla="*/ 670631 w 670631"/>
                  <a:gd name="connsiteY1" fmla="*/ 1152144 h 1152144"/>
                  <a:gd name="connsiteX2" fmla="*/ 0 w 670631"/>
                  <a:gd name="connsiteY2" fmla="*/ 1152144 h 1152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0631" h="1152144">
                    <a:moveTo>
                      <a:pt x="670631" y="0"/>
                    </a:moveTo>
                    <a:lnTo>
                      <a:pt x="670631" y="1152144"/>
                    </a:lnTo>
                    <a:lnTo>
                      <a:pt x="0" y="11521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lIns="365760" tIns="411480" rtlCol="0" anchor="ctr"/>
              <a:lstStyle/>
              <a:p>
                <a:pPr algn="ctr"/>
                <a:r>
                  <a:rPr lang="en-IN" sz="4000" dirty="0" smtClean="0">
                    <a:solidFill>
                      <a:schemeClr val="bg1"/>
                    </a:solidFill>
                  </a:rPr>
                  <a:t>R</a:t>
                </a:r>
                <a:endParaRPr lang="en-IN" sz="4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Rectangle 84"/>
              <p:cNvSpPr/>
              <p:nvPr/>
            </p:nvSpPr>
            <p:spPr>
              <a:xfrm>
                <a:off x="4587991" y="1419225"/>
                <a:ext cx="2576991" cy="115214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Who is </a:t>
                </a:r>
                <a:r>
                  <a:rPr lang="en-US" sz="28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R</a:t>
                </a:r>
                <a:r>
                  <a:rPr lang="en-US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ESPONSIBLE</a:t>
                </a:r>
                <a:endParaRPr lang="en-US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7230607" y="1419225"/>
                <a:ext cx="2831476" cy="1152144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64008" rIns="91440" bIns="6400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IN" sz="1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A wonderful serenity has taken possession of my entire soul, like these sweet mornings of spring which I enjoy with my whole heart.</a:t>
                </a:r>
                <a:endPara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  <p:grpSp>
          <p:nvGrpSpPr>
            <p:cNvPr id="8" name="Group 7"/>
            <p:cNvGrpSpPr/>
            <p:nvPr/>
          </p:nvGrpSpPr>
          <p:grpSpPr>
            <a:xfrm>
              <a:off x="3094690" y="2648008"/>
              <a:ext cx="6967394" cy="1152144"/>
              <a:chOff x="3094690" y="2648008"/>
              <a:chExt cx="6967394" cy="1152144"/>
            </a:xfrm>
          </p:grpSpPr>
          <p:sp>
            <p:nvSpPr>
              <p:cNvPr id="63" name="Freeform 62"/>
              <p:cNvSpPr/>
              <p:nvPr/>
            </p:nvSpPr>
            <p:spPr>
              <a:xfrm>
                <a:off x="3094690" y="2648008"/>
                <a:ext cx="1385871" cy="1152144"/>
              </a:xfrm>
              <a:custGeom>
                <a:avLst/>
                <a:gdLst>
                  <a:gd name="connsiteX0" fmla="*/ 670631 w 1385871"/>
                  <a:gd name="connsiteY0" fmla="*/ 0 h 1152144"/>
                  <a:gd name="connsiteX1" fmla="*/ 1385871 w 1385871"/>
                  <a:gd name="connsiteY1" fmla="*/ 0 h 1152144"/>
                  <a:gd name="connsiteX2" fmla="*/ 1385871 w 1385871"/>
                  <a:gd name="connsiteY2" fmla="*/ 1152144 h 1152144"/>
                  <a:gd name="connsiteX3" fmla="*/ 0 w 1385871"/>
                  <a:gd name="connsiteY3" fmla="*/ 1152144 h 1152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85871" h="1152144">
                    <a:moveTo>
                      <a:pt x="670631" y="0"/>
                    </a:moveTo>
                    <a:lnTo>
                      <a:pt x="1385871" y="0"/>
                    </a:lnTo>
                    <a:lnTo>
                      <a:pt x="1385871" y="1152144"/>
                    </a:lnTo>
                    <a:lnTo>
                      <a:pt x="0" y="1152144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lIns="274320" rtlCol="0" anchor="ctr"/>
              <a:lstStyle/>
              <a:p>
                <a:pPr algn="ctr"/>
                <a:r>
                  <a:rPr lang="en-IN" sz="4000" spc="300" dirty="0" smtClean="0">
                    <a:solidFill>
                      <a:schemeClr val="bg1"/>
                    </a:solidFill>
                  </a:rPr>
                  <a:t>AA</a:t>
                </a:r>
                <a:endParaRPr lang="en-IN" sz="4000" spc="3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Rectangle 85"/>
              <p:cNvSpPr/>
              <p:nvPr/>
            </p:nvSpPr>
            <p:spPr>
              <a:xfrm>
                <a:off x="4587991" y="2648008"/>
                <a:ext cx="2576991" cy="115214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Who is </a:t>
                </a:r>
                <a:r>
                  <a:rPr lang="en-US" sz="28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A</a:t>
                </a:r>
                <a:r>
                  <a:rPr lang="en-US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CCOUNTABLE</a:t>
                </a: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7230608" y="2648008"/>
                <a:ext cx="2831476" cy="1152144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64008" rIns="91440" bIns="6400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IN" sz="1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I am alone, and feel the charm of existence in this spot, which was created for the bliss of souls like mine.</a:t>
                </a:r>
                <a:endPara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1664208" y="5105573"/>
              <a:ext cx="8397876" cy="1152144"/>
              <a:chOff x="1664208" y="5105573"/>
              <a:chExt cx="8397876" cy="1152144"/>
            </a:xfrm>
          </p:grpSpPr>
          <p:sp>
            <p:nvSpPr>
              <p:cNvPr id="66" name="Freeform 65"/>
              <p:cNvSpPr/>
              <p:nvPr/>
            </p:nvSpPr>
            <p:spPr>
              <a:xfrm>
                <a:off x="1664208" y="5105573"/>
                <a:ext cx="2816352" cy="1152144"/>
              </a:xfrm>
              <a:custGeom>
                <a:avLst/>
                <a:gdLst>
                  <a:gd name="connsiteX0" fmla="*/ 670631 w 2816352"/>
                  <a:gd name="connsiteY0" fmla="*/ 0 h 1152144"/>
                  <a:gd name="connsiteX1" fmla="*/ 2816352 w 2816352"/>
                  <a:gd name="connsiteY1" fmla="*/ 0 h 1152144"/>
                  <a:gd name="connsiteX2" fmla="*/ 2816352 w 2816352"/>
                  <a:gd name="connsiteY2" fmla="*/ 1152144 h 1152144"/>
                  <a:gd name="connsiteX3" fmla="*/ 0 w 2816352"/>
                  <a:gd name="connsiteY3" fmla="*/ 1152144 h 1152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6352" h="1152144">
                    <a:moveTo>
                      <a:pt x="670631" y="0"/>
                    </a:moveTo>
                    <a:lnTo>
                      <a:pt x="2816352" y="0"/>
                    </a:lnTo>
                    <a:lnTo>
                      <a:pt x="2816352" y="1152144"/>
                    </a:lnTo>
                    <a:lnTo>
                      <a:pt x="0" y="1152144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en-IN" sz="4000" spc="600" dirty="0" smtClean="0">
                    <a:solidFill>
                      <a:schemeClr val="bg1"/>
                    </a:solidFill>
                  </a:rPr>
                  <a:t>IIIII</a:t>
                </a:r>
                <a:endParaRPr lang="en-IN" sz="4000" spc="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7" name="Rectangle 86"/>
              <p:cNvSpPr/>
              <p:nvPr/>
            </p:nvSpPr>
            <p:spPr>
              <a:xfrm>
                <a:off x="4587991" y="5105573"/>
                <a:ext cx="2576991" cy="1152144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Who is </a:t>
                </a:r>
                <a:r>
                  <a:rPr lang="en-US" sz="28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I</a:t>
                </a:r>
                <a:r>
                  <a:rPr lang="en-US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NFORMED</a:t>
                </a:r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7230608" y="5105573"/>
                <a:ext cx="2831476" cy="115214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64008" rIns="91440" bIns="6400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IN" sz="1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I will give you a complete account of the system, and expound the actual teachings of the great explorer of the </a:t>
                </a:r>
                <a:r>
                  <a:rPr lang="en-IN" sz="14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truth..</a:t>
                </a:r>
                <a:endPara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2379448" y="3876791"/>
              <a:ext cx="7682636" cy="1152144"/>
              <a:chOff x="2379448" y="3876791"/>
              <a:chExt cx="7682636" cy="1152144"/>
            </a:xfrm>
          </p:grpSpPr>
          <p:sp>
            <p:nvSpPr>
              <p:cNvPr id="64" name="Freeform 63"/>
              <p:cNvSpPr/>
              <p:nvPr/>
            </p:nvSpPr>
            <p:spPr>
              <a:xfrm>
                <a:off x="2379448" y="3876791"/>
                <a:ext cx="2101112" cy="1152144"/>
              </a:xfrm>
              <a:custGeom>
                <a:avLst/>
                <a:gdLst>
                  <a:gd name="connsiteX0" fmla="*/ 670631 w 2101112"/>
                  <a:gd name="connsiteY0" fmla="*/ 0 h 1152144"/>
                  <a:gd name="connsiteX1" fmla="*/ 2101112 w 2101112"/>
                  <a:gd name="connsiteY1" fmla="*/ 0 h 1152144"/>
                  <a:gd name="connsiteX2" fmla="*/ 2101112 w 2101112"/>
                  <a:gd name="connsiteY2" fmla="*/ 1152144 h 1152144"/>
                  <a:gd name="connsiteX3" fmla="*/ 0 w 2101112"/>
                  <a:gd name="connsiteY3" fmla="*/ 1152144 h 1152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01112" h="1152144">
                    <a:moveTo>
                      <a:pt x="670631" y="0"/>
                    </a:moveTo>
                    <a:lnTo>
                      <a:pt x="2101112" y="0"/>
                    </a:lnTo>
                    <a:lnTo>
                      <a:pt x="2101112" y="1152144"/>
                    </a:lnTo>
                    <a:lnTo>
                      <a:pt x="0" y="1152144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lIns="274320" rtlCol="0" anchor="ctr"/>
              <a:lstStyle/>
              <a:p>
                <a:pPr algn="ctr"/>
                <a:r>
                  <a:rPr lang="en-IN" sz="4000" spc="300" dirty="0" smtClean="0">
                    <a:solidFill>
                      <a:schemeClr val="bg1"/>
                    </a:solidFill>
                  </a:rPr>
                  <a:t>CCCC</a:t>
                </a:r>
                <a:endParaRPr lang="en-IN" sz="4000" spc="3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4587991" y="3876791"/>
                <a:ext cx="2576991" cy="1152144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Who is </a:t>
                </a:r>
                <a:r>
                  <a:rPr lang="en-US" sz="28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C</a:t>
                </a:r>
                <a:r>
                  <a:rPr lang="en-US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ONSULTED</a:t>
                </a:r>
              </a:p>
            </p:txBody>
          </p:sp>
          <p:sp>
            <p:nvSpPr>
              <p:cNvPr id="22" name="Rectangle 21"/>
              <p:cNvSpPr/>
              <p:nvPr/>
            </p:nvSpPr>
            <p:spPr>
              <a:xfrm>
                <a:off x="7230608" y="3876791"/>
                <a:ext cx="2831476" cy="1152144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64008" rIns="91440" bIns="6400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IN" sz="1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But I must explain to you how all this </a:t>
                </a:r>
                <a:r>
                  <a:rPr lang="en-IN" sz="14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mistaken idea </a:t>
                </a:r>
                <a:r>
                  <a:rPr lang="en-IN" sz="1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of denouncing pleasure and praising </a:t>
                </a:r>
                <a:r>
                  <a:rPr lang="en-IN" sz="14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pain was </a:t>
                </a:r>
                <a:r>
                  <a:rPr lang="en-IN" sz="1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born </a:t>
                </a:r>
                <a:endPara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99221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RACI Triangle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651443" y="0"/>
            <a:ext cx="7841114" cy="6507730"/>
            <a:chOff x="651443" y="0"/>
            <a:chExt cx="7841114" cy="6507730"/>
          </a:xfrm>
        </p:grpSpPr>
        <p:grpSp>
          <p:nvGrpSpPr>
            <p:cNvPr id="42" name="Group 41"/>
            <p:cNvGrpSpPr/>
            <p:nvPr/>
          </p:nvGrpSpPr>
          <p:grpSpPr>
            <a:xfrm>
              <a:off x="3200917" y="1182658"/>
              <a:ext cx="5291640" cy="4148314"/>
              <a:chOff x="2503754" y="1182658"/>
              <a:chExt cx="5291640" cy="4148314"/>
            </a:xfrm>
          </p:grpSpPr>
          <p:sp>
            <p:nvSpPr>
              <p:cNvPr id="47" name="Rectangle 46"/>
              <p:cNvSpPr/>
              <p:nvPr/>
            </p:nvSpPr>
            <p:spPr>
              <a:xfrm>
                <a:off x="3532066" y="3293074"/>
                <a:ext cx="4263327" cy="982691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lIns="457200" rtlCol="0" anchor="ctr"/>
              <a:lstStyle/>
              <a:p>
                <a:pPr lvl="0"/>
                <a:r>
                  <a:rPr lang="en-US">
                    <a:solidFill>
                      <a:srgbClr val="000000">
                        <a:lumMod val="85000"/>
                        <a:lumOff val="15000"/>
                      </a:srgbClr>
                    </a:solidFill>
                  </a:rPr>
                  <a:t>Who is </a:t>
                </a:r>
                <a:r>
                  <a:rPr lang="en-US" sz="2800" b="1">
                    <a:solidFill>
                      <a:srgbClr val="000000">
                        <a:lumMod val="85000"/>
                        <a:lumOff val="15000"/>
                      </a:srgbClr>
                    </a:solidFill>
                  </a:rPr>
                  <a:t>C</a:t>
                </a:r>
                <a:r>
                  <a:rPr lang="en-US">
                    <a:solidFill>
                      <a:srgbClr val="000000">
                        <a:lumMod val="85000"/>
                        <a:lumOff val="15000"/>
                      </a:srgbClr>
                    </a:solidFill>
                  </a:rPr>
                  <a:t>ONSULTED</a:t>
                </a:r>
                <a:endParaRPr lang="en-US" dirty="0">
                  <a:solidFill>
                    <a:srgbClr val="000000">
                      <a:lumMod val="85000"/>
                      <a:lumOff val="15000"/>
                    </a:srgbClr>
                  </a:solidFill>
                </a:endParaRPr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4056673" y="4348281"/>
                <a:ext cx="3738721" cy="98269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lIns="457200" rtlCol="0" anchor="ctr"/>
              <a:lstStyle/>
              <a:p>
                <a:pPr lvl="0"/>
                <a:r>
                  <a:rPr lang="en-US" dirty="0">
                    <a:solidFill>
                      <a:srgbClr val="000000">
                        <a:lumMod val="85000"/>
                        <a:lumOff val="15000"/>
                      </a:srgbClr>
                    </a:solidFill>
                  </a:rPr>
                  <a:t>Who is </a:t>
                </a:r>
                <a:r>
                  <a:rPr lang="en-US" sz="2800" b="1" dirty="0">
                    <a:solidFill>
                      <a:srgbClr val="000000">
                        <a:lumMod val="85000"/>
                        <a:lumOff val="15000"/>
                      </a:srgbClr>
                    </a:solidFill>
                  </a:rPr>
                  <a:t>I</a:t>
                </a:r>
                <a:r>
                  <a:rPr lang="en-US" dirty="0">
                    <a:solidFill>
                      <a:srgbClr val="000000">
                        <a:lumMod val="85000"/>
                        <a:lumOff val="15000"/>
                      </a:srgbClr>
                    </a:solidFill>
                  </a:rPr>
                  <a:t>NFORMED</a:t>
                </a:r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3012733" y="2237866"/>
                <a:ext cx="4782660" cy="982691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lIns="457200" rtlCol="0" anchor="ctr"/>
              <a:lstStyle/>
              <a:p>
                <a:pPr lvl="0"/>
                <a:r>
                  <a:rPr lang="en-US">
                    <a:solidFill>
                      <a:srgbClr val="000000">
                        <a:lumMod val="85000"/>
                        <a:lumOff val="15000"/>
                      </a:srgbClr>
                    </a:solidFill>
                  </a:rPr>
                  <a:t>Who is </a:t>
                </a:r>
                <a:r>
                  <a:rPr lang="en-US" sz="2800" b="1">
                    <a:solidFill>
                      <a:srgbClr val="000000">
                        <a:lumMod val="85000"/>
                        <a:lumOff val="15000"/>
                      </a:srgbClr>
                    </a:solidFill>
                  </a:rPr>
                  <a:t>A</a:t>
                </a:r>
                <a:r>
                  <a:rPr lang="en-US">
                    <a:solidFill>
                      <a:srgbClr val="000000">
                        <a:lumMod val="85000"/>
                        <a:lumOff val="15000"/>
                      </a:srgbClr>
                    </a:solidFill>
                  </a:rPr>
                  <a:t>CCOUNTABLE</a:t>
                </a:r>
                <a:endParaRPr lang="en-US" dirty="0">
                  <a:solidFill>
                    <a:srgbClr val="000000">
                      <a:lumMod val="85000"/>
                      <a:lumOff val="15000"/>
                    </a:srgbClr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503754" y="1182658"/>
                <a:ext cx="5291640" cy="982691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lIns="457200" rtlCol="0" anchor="ctr"/>
              <a:lstStyle/>
              <a:p>
                <a:pPr lvl="0"/>
                <a:r>
                  <a:rPr lang="en-US">
                    <a:solidFill>
                      <a:srgbClr val="000000">
                        <a:lumMod val="85000"/>
                        <a:lumOff val="15000"/>
                      </a:srgbClr>
                    </a:solidFill>
                  </a:rPr>
                  <a:t>Who is </a:t>
                </a:r>
                <a:r>
                  <a:rPr lang="en-US" sz="2800" b="1">
                    <a:solidFill>
                      <a:srgbClr val="000000">
                        <a:lumMod val="85000"/>
                        <a:lumOff val="15000"/>
                      </a:srgbClr>
                    </a:solidFill>
                  </a:rPr>
                  <a:t>R</a:t>
                </a:r>
                <a:r>
                  <a:rPr lang="en-US">
                    <a:solidFill>
                      <a:srgbClr val="000000">
                        <a:lumMod val="85000"/>
                        <a:lumOff val="15000"/>
                      </a:srgbClr>
                    </a:solidFill>
                  </a:rPr>
                  <a:t>ESPONSIBLE</a:t>
                </a:r>
                <a:endParaRPr lang="en-US" dirty="0">
                  <a:solidFill>
                    <a:srgbClr val="000000">
                      <a:lumMod val="85000"/>
                      <a:lumOff val="15000"/>
                    </a:srgbClr>
                  </a:solidFill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651443" y="0"/>
              <a:ext cx="2901135" cy="6507730"/>
              <a:chOff x="1837946" y="1493584"/>
              <a:chExt cx="2285999" cy="5127878"/>
            </a:xfrm>
            <a:effectLst>
              <a:outerShdw blurRad="88900" dist="38100" algn="t" rotWithShape="0">
                <a:schemeClr val="bg1">
                  <a:lumMod val="65000"/>
                </a:schemeClr>
              </a:outerShdw>
            </a:effectLst>
            <a:scene3d>
              <a:camera prst="isometricLeftDown"/>
              <a:lightRig rig="threePt" dir="t"/>
            </a:scene3d>
          </p:grpSpPr>
          <p:sp>
            <p:nvSpPr>
              <p:cNvPr id="36" name="Freeform 35"/>
              <p:cNvSpPr/>
              <p:nvPr/>
            </p:nvSpPr>
            <p:spPr>
              <a:xfrm>
                <a:off x="1837946" y="5400074"/>
                <a:ext cx="2285999" cy="1221388"/>
              </a:xfrm>
              <a:custGeom>
                <a:avLst/>
                <a:gdLst>
                  <a:gd name="connsiteX0" fmla="*/ 544492 w 2285999"/>
                  <a:gd name="connsiteY0" fmla="*/ 0 h 1221388"/>
                  <a:gd name="connsiteX1" fmla="*/ 2285999 w 2285999"/>
                  <a:gd name="connsiteY1" fmla="*/ 0 h 1221388"/>
                  <a:gd name="connsiteX2" fmla="*/ 2285999 w 2285999"/>
                  <a:gd name="connsiteY2" fmla="*/ 1221388 h 1221388"/>
                  <a:gd name="connsiteX3" fmla="*/ 0 w 2285999"/>
                  <a:gd name="connsiteY3" fmla="*/ 1221388 h 1221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5999" h="1221388">
                    <a:moveTo>
                      <a:pt x="544492" y="0"/>
                    </a:moveTo>
                    <a:lnTo>
                      <a:pt x="2285999" y="0"/>
                    </a:lnTo>
                    <a:lnTo>
                      <a:pt x="2285999" y="1221388"/>
                    </a:lnTo>
                    <a:lnTo>
                      <a:pt x="0" y="1221388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Ins="274320" rtlCol="0" anchor="ctr"/>
              <a:lstStyle/>
              <a:p>
                <a:pPr algn="ctr"/>
                <a:r>
                  <a:rPr lang="en-IN" sz="4000" dirty="0">
                    <a:solidFill>
                      <a:schemeClr val="bg1"/>
                    </a:solidFill>
                  </a:rPr>
                  <a:t>I</a:t>
                </a:r>
              </a:p>
            </p:txBody>
          </p:sp>
          <p:sp>
            <p:nvSpPr>
              <p:cNvPr id="35" name="Freeform 34"/>
              <p:cNvSpPr/>
              <p:nvPr/>
            </p:nvSpPr>
            <p:spPr>
              <a:xfrm>
                <a:off x="2418448" y="4097910"/>
                <a:ext cx="1705497" cy="1221388"/>
              </a:xfrm>
              <a:custGeom>
                <a:avLst/>
                <a:gdLst>
                  <a:gd name="connsiteX0" fmla="*/ 544493 w 1705497"/>
                  <a:gd name="connsiteY0" fmla="*/ 0 h 1221388"/>
                  <a:gd name="connsiteX1" fmla="*/ 1705497 w 1705497"/>
                  <a:gd name="connsiteY1" fmla="*/ 0 h 1221388"/>
                  <a:gd name="connsiteX2" fmla="*/ 1705497 w 1705497"/>
                  <a:gd name="connsiteY2" fmla="*/ 1221388 h 1221388"/>
                  <a:gd name="connsiteX3" fmla="*/ 0 w 1705497"/>
                  <a:gd name="connsiteY3" fmla="*/ 1221388 h 1221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5497" h="1221388">
                    <a:moveTo>
                      <a:pt x="544493" y="0"/>
                    </a:moveTo>
                    <a:lnTo>
                      <a:pt x="1705497" y="0"/>
                    </a:lnTo>
                    <a:lnTo>
                      <a:pt x="1705497" y="1221388"/>
                    </a:lnTo>
                    <a:lnTo>
                      <a:pt x="0" y="1221388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en-IN" sz="4000" dirty="0">
                    <a:solidFill>
                      <a:schemeClr val="bg1"/>
                    </a:solidFill>
                  </a:rPr>
                  <a:t>C</a:t>
                </a: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2998950" y="2795746"/>
                <a:ext cx="1124994" cy="1221388"/>
              </a:xfrm>
              <a:custGeom>
                <a:avLst/>
                <a:gdLst>
                  <a:gd name="connsiteX0" fmla="*/ 544492 w 1124994"/>
                  <a:gd name="connsiteY0" fmla="*/ 0 h 1221388"/>
                  <a:gd name="connsiteX1" fmla="*/ 1124994 w 1124994"/>
                  <a:gd name="connsiteY1" fmla="*/ 0 h 1221388"/>
                  <a:gd name="connsiteX2" fmla="*/ 1124994 w 1124994"/>
                  <a:gd name="connsiteY2" fmla="*/ 1221388 h 1221388"/>
                  <a:gd name="connsiteX3" fmla="*/ 0 w 1124994"/>
                  <a:gd name="connsiteY3" fmla="*/ 1221388 h 1221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24994" h="1221388">
                    <a:moveTo>
                      <a:pt x="544492" y="0"/>
                    </a:moveTo>
                    <a:lnTo>
                      <a:pt x="1124994" y="0"/>
                    </a:lnTo>
                    <a:lnTo>
                      <a:pt x="1124994" y="1221388"/>
                    </a:lnTo>
                    <a:lnTo>
                      <a:pt x="0" y="1221388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lIns="274320" rtlCol="0" anchor="ctr"/>
              <a:lstStyle/>
              <a:p>
                <a:pPr algn="ctr"/>
                <a:r>
                  <a:rPr lang="en-IN" sz="4000" dirty="0">
                    <a:solidFill>
                      <a:schemeClr val="bg1"/>
                    </a:solidFill>
                  </a:rPr>
                  <a:t>A</a:t>
                </a:r>
              </a:p>
            </p:txBody>
          </p:sp>
          <p:sp>
            <p:nvSpPr>
              <p:cNvPr id="33" name="Freeform 32"/>
              <p:cNvSpPr/>
              <p:nvPr/>
            </p:nvSpPr>
            <p:spPr>
              <a:xfrm>
                <a:off x="3579452" y="1493584"/>
                <a:ext cx="544492" cy="1221387"/>
              </a:xfrm>
              <a:custGeom>
                <a:avLst/>
                <a:gdLst>
                  <a:gd name="connsiteX0" fmla="*/ 544492 w 544492"/>
                  <a:gd name="connsiteY0" fmla="*/ 0 h 1221387"/>
                  <a:gd name="connsiteX1" fmla="*/ 544492 w 544492"/>
                  <a:gd name="connsiteY1" fmla="*/ 1221387 h 1221387"/>
                  <a:gd name="connsiteX2" fmla="*/ 0 w 544492"/>
                  <a:gd name="connsiteY2" fmla="*/ 1221387 h 12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4492" h="1221387">
                    <a:moveTo>
                      <a:pt x="544492" y="0"/>
                    </a:moveTo>
                    <a:lnTo>
                      <a:pt x="544492" y="1221387"/>
                    </a:lnTo>
                    <a:lnTo>
                      <a:pt x="0" y="1221387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lIns="274320" tIns="640080" rtlCol="0" anchor="ctr"/>
              <a:lstStyle/>
              <a:p>
                <a:pPr algn="ctr"/>
                <a:r>
                  <a:rPr lang="en-IN" sz="4000" dirty="0" smtClean="0">
                    <a:solidFill>
                      <a:schemeClr val="bg1"/>
                    </a:solidFill>
                  </a:rPr>
                  <a:t>R</a:t>
                </a:r>
                <a:endParaRPr lang="en-IN" sz="40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 flipH="1">
              <a:off x="2775076" y="0"/>
              <a:ext cx="2901135" cy="6507730"/>
              <a:chOff x="1837946" y="1493584"/>
              <a:chExt cx="2285999" cy="5127878"/>
            </a:xfrm>
            <a:effectLst>
              <a:outerShdw blurRad="76200" dist="38100" algn="r" rotWithShape="0">
                <a:schemeClr val="bg1">
                  <a:lumMod val="65000"/>
                </a:schemeClr>
              </a:outerShdw>
            </a:effectLst>
            <a:scene3d>
              <a:camera prst="isometricRightUp"/>
              <a:lightRig rig="threePt" dir="t"/>
            </a:scene3d>
          </p:grpSpPr>
          <p:sp>
            <p:nvSpPr>
              <p:cNvPr id="38" name="Freeform 37"/>
              <p:cNvSpPr/>
              <p:nvPr/>
            </p:nvSpPr>
            <p:spPr>
              <a:xfrm>
                <a:off x="1837946" y="5400074"/>
                <a:ext cx="2285999" cy="1221388"/>
              </a:xfrm>
              <a:custGeom>
                <a:avLst/>
                <a:gdLst>
                  <a:gd name="connsiteX0" fmla="*/ 544492 w 2285999"/>
                  <a:gd name="connsiteY0" fmla="*/ 0 h 1221388"/>
                  <a:gd name="connsiteX1" fmla="*/ 2285999 w 2285999"/>
                  <a:gd name="connsiteY1" fmla="*/ 0 h 1221388"/>
                  <a:gd name="connsiteX2" fmla="*/ 2285999 w 2285999"/>
                  <a:gd name="connsiteY2" fmla="*/ 1221388 h 1221388"/>
                  <a:gd name="connsiteX3" fmla="*/ 0 w 2285999"/>
                  <a:gd name="connsiteY3" fmla="*/ 1221388 h 1221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5999" h="1221388">
                    <a:moveTo>
                      <a:pt x="544492" y="0"/>
                    </a:moveTo>
                    <a:lnTo>
                      <a:pt x="2285999" y="0"/>
                    </a:lnTo>
                    <a:lnTo>
                      <a:pt x="2285999" y="1221388"/>
                    </a:lnTo>
                    <a:lnTo>
                      <a:pt x="0" y="1221388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39" name="Freeform 38"/>
              <p:cNvSpPr/>
              <p:nvPr/>
            </p:nvSpPr>
            <p:spPr>
              <a:xfrm>
                <a:off x="2418448" y="4097910"/>
                <a:ext cx="1705497" cy="1221388"/>
              </a:xfrm>
              <a:custGeom>
                <a:avLst/>
                <a:gdLst>
                  <a:gd name="connsiteX0" fmla="*/ 544493 w 1705497"/>
                  <a:gd name="connsiteY0" fmla="*/ 0 h 1221388"/>
                  <a:gd name="connsiteX1" fmla="*/ 1705497 w 1705497"/>
                  <a:gd name="connsiteY1" fmla="*/ 0 h 1221388"/>
                  <a:gd name="connsiteX2" fmla="*/ 1705497 w 1705497"/>
                  <a:gd name="connsiteY2" fmla="*/ 1221388 h 1221388"/>
                  <a:gd name="connsiteX3" fmla="*/ 0 w 1705497"/>
                  <a:gd name="connsiteY3" fmla="*/ 1221388 h 1221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5497" h="1221388">
                    <a:moveTo>
                      <a:pt x="544493" y="0"/>
                    </a:moveTo>
                    <a:lnTo>
                      <a:pt x="1705497" y="0"/>
                    </a:lnTo>
                    <a:lnTo>
                      <a:pt x="1705497" y="1221388"/>
                    </a:lnTo>
                    <a:lnTo>
                      <a:pt x="0" y="1221388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40" name="Freeform 39"/>
              <p:cNvSpPr/>
              <p:nvPr/>
            </p:nvSpPr>
            <p:spPr>
              <a:xfrm>
                <a:off x="2998950" y="2795746"/>
                <a:ext cx="1124994" cy="1221388"/>
              </a:xfrm>
              <a:custGeom>
                <a:avLst/>
                <a:gdLst>
                  <a:gd name="connsiteX0" fmla="*/ 544492 w 1124994"/>
                  <a:gd name="connsiteY0" fmla="*/ 0 h 1221388"/>
                  <a:gd name="connsiteX1" fmla="*/ 1124994 w 1124994"/>
                  <a:gd name="connsiteY1" fmla="*/ 0 h 1221388"/>
                  <a:gd name="connsiteX2" fmla="*/ 1124994 w 1124994"/>
                  <a:gd name="connsiteY2" fmla="*/ 1221388 h 1221388"/>
                  <a:gd name="connsiteX3" fmla="*/ 0 w 1124994"/>
                  <a:gd name="connsiteY3" fmla="*/ 1221388 h 1221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24994" h="1221388">
                    <a:moveTo>
                      <a:pt x="544492" y="0"/>
                    </a:moveTo>
                    <a:lnTo>
                      <a:pt x="1124994" y="0"/>
                    </a:lnTo>
                    <a:lnTo>
                      <a:pt x="1124994" y="1221388"/>
                    </a:lnTo>
                    <a:lnTo>
                      <a:pt x="0" y="1221388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41" name="Freeform 40"/>
              <p:cNvSpPr/>
              <p:nvPr/>
            </p:nvSpPr>
            <p:spPr>
              <a:xfrm>
                <a:off x="3579452" y="1493584"/>
                <a:ext cx="544492" cy="1221387"/>
              </a:xfrm>
              <a:custGeom>
                <a:avLst/>
                <a:gdLst>
                  <a:gd name="connsiteX0" fmla="*/ 544492 w 544492"/>
                  <a:gd name="connsiteY0" fmla="*/ 0 h 1221387"/>
                  <a:gd name="connsiteX1" fmla="*/ 544492 w 544492"/>
                  <a:gd name="connsiteY1" fmla="*/ 1221387 h 1221387"/>
                  <a:gd name="connsiteX2" fmla="*/ 0 w 544492"/>
                  <a:gd name="connsiteY2" fmla="*/ 1221387 h 12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4492" h="1221387">
                    <a:moveTo>
                      <a:pt x="544492" y="0"/>
                    </a:moveTo>
                    <a:lnTo>
                      <a:pt x="544492" y="1221387"/>
                    </a:lnTo>
                    <a:lnTo>
                      <a:pt x="0" y="1221387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48" name="Group 47"/>
            <p:cNvGrpSpPr>
              <a:grpSpLocks noChangeAspect="1"/>
            </p:cNvGrpSpPr>
            <p:nvPr/>
          </p:nvGrpSpPr>
          <p:grpSpPr>
            <a:xfrm>
              <a:off x="3226696" y="1675681"/>
              <a:ext cx="234423" cy="473705"/>
              <a:chOff x="7835900" y="770594"/>
              <a:chExt cx="2451100" cy="4953000"/>
            </a:xfrm>
          </p:grpSpPr>
          <p:sp>
            <p:nvSpPr>
              <p:cNvPr id="49" name="Freeform 48"/>
              <p:cNvSpPr/>
              <p:nvPr/>
            </p:nvSpPr>
            <p:spPr>
              <a:xfrm>
                <a:off x="7835900" y="770594"/>
                <a:ext cx="2451100" cy="4953000"/>
              </a:xfrm>
              <a:custGeom>
                <a:avLst/>
                <a:gdLst>
                  <a:gd name="connsiteX0" fmla="*/ 1270000 w 2451100"/>
                  <a:gd name="connsiteY0" fmla="*/ 0 h 4953000"/>
                  <a:gd name="connsiteX1" fmla="*/ 1130300 w 2451100"/>
                  <a:gd name="connsiteY1" fmla="*/ 114300 h 4953000"/>
                  <a:gd name="connsiteX2" fmla="*/ 1028700 w 2451100"/>
                  <a:gd name="connsiteY2" fmla="*/ 228600 h 4953000"/>
                  <a:gd name="connsiteX3" fmla="*/ 1028700 w 2451100"/>
                  <a:gd name="connsiteY3" fmla="*/ 355600 h 4953000"/>
                  <a:gd name="connsiteX4" fmla="*/ 1028700 w 2451100"/>
                  <a:gd name="connsiteY4" fmla="*/ 546100 h 4953000"/>
                  <a:gd name="connsiteX5" fmla="*/ 1079500 w 2451100"/>
                  <a:gd name="connsiteY5" fmla="*/ 596900 h 4953000"/>
                  <a:gd name="connsiteX6" fmla="*/ 1168400 w 2451100"/>
                  <a:gd name="connsiteY6" fmla="*/ 914400 h 4953000"/>
                  <a:gd name="connsiteX7" fmla="*/ 1003300 w 2451100"/>
                  <a:gd name="connsiteY7" fmla="*/ 914400 h 4953000"/>
                  <a:gd name="connsiteX8" fmla="*/ 927100 w 2451100"/>
                  <a:gd name="connsiteY8" fmla="*/ 1016000 h 4953000"/>
                  <a:gd name="connsiteX9" fmla="*/ 876300 w 2451100"/>
                  <a:gd name="connsiteY9" fmla="*/ 1270000 h 4953000"/>
                  <a:gd name="connsiteX10" fmla="*/ 876300 w 2451100"/>
                  <a:gd name="connsiteY10" fmla="*/ 1409700 h 4953000"/>
                  <a:gd name="connsiteX11" fmla="*/ 889000 w 2451100"/>
                  <a:gd name="connsiteY11" fmla="*/ 1473200 h 4953000"/>
                  <a:gd name="connsiteX12" fmla="*/ 850900 w 2451100"/>
                  <a:gd name="connsiteY12" fmla="*/ 1536700 h 4953000"/>
                  <a:gd name="connsiteX13" fmla="*/ 850900 w 2451100"/>
                  <a:gd name="connsiteY13" fmla="*/ 1612900 h 4953000"/>
                  <a:gd name="connsiteX14" fmla="*/ 812800 w 2451100"/>
                  <a:gd name="connsiteY14" fmla="*/ 1676400 h 4953000"/>
                  <a:gd name="connsiteX15" fmla="*/ 266700 w 2451100"/>
                  <a:gd name="connsiteY15" fmla="*/ 1460500 h 4953000"/>
                  <a:gd name="connsiteX16" fmla="*/ 241300 w 2451100"/>
                  <a:gd name="connsiteY16" fmla="*/ 1460500 h 4953000"/>
                  <a:gd name="connsiteX17" fmla="*/ 0 w 2451100"/>
                  <a:gd name="connsiteY17" fmla="*/ 2044700 h 4953000"/>
                  <a:gd name="connsiteX18" fmla="*/ 254000 w 2451100"/>
                  <a:gd name="connsiteY18" fmla="*/ 2133600 h 4953000"/>
                  <a:gd name="connsiteX19" fmla="*/ 254000 w 2451100"/>
                  <a:gd name="connsiteY19" fmla="*/ 2197100 h 4953000"/>
                  <a:gd name="connsiteX20" fmla="*/ 355600 w 2451100"/>
                  <a:gd name="connsiteY20" fmla="*/ 2197100 h 4953000"/>
                  <a:gd name="connsiteX21" fmla="*/ 381000 w 2451100"/>
                  <a:gd name="connsiteY21" fmla="*/ 2298700 h 4953000"/>
                  <a:gd name="connsiteX22" fmla="*/ 584200 w 2451100"/>
                  <a:gd name="connsiteY22" fmla="*/ 2362200 h 4953000"/>
                  <a:gd name="connsiteX23" fmla="*/ 685800 w 2451100"/>
                  <a:gd name="connsiteY23" fmla="*/ 2349500 h 4953000"/>
                  <a:gd name="connsiteX24" fmla="*/ 952500 w 2451100"/>
                  <a:gd name="connsiteY24" fmla="*/ 2451100 h 4953000"/>
                  <a:gd name="connsiteX25" fmla="*/ 850900 w 2451100"/>
                  <a:gd name="connsiteY25" fmla="*/ 2832100 h 4953000"/>
                  <a:gd name="connsiteX26" fmla="*/ 914400 w 2451100"/>
                  <a:gd name="connsiteY26" fmla="*/ 2984500 h 4953000"/>
                  <a:gd name="connsiteX27" fmla="*/ 1016000 w 2451100"/>
                  <a:gd name="connsiteY27" fmla="*/ 3848100 h 4953000"/>
                  <a:gd name="connsiteX28" fmla="*/ 1092200 w 2451100"/>
                  <a:gd name="connsiteY28" fmla="*/ 4127500 h 4953000"/>
                  <a:gd name="connsiteX29" fmla="*/ 1003300 w 2451100"/>
                  <a:gd name="connsiteY29" fmla="*/ 4216400 h 4953000"/>
                  <a:gd name="connsiteX30" fmla="*/ 787400 w 2451100"/>
                  <a:gd name="connsiteY30" fmla="*/ 4318000 h 4953000"/>
                  <a:gd name="connsiteX31" fmla="*/ 787400 w 2451100"/>
                  <a:gd name="connsiteY31" fmla="*/ 4419600 h 4953000"/>
                  <a:gd name="connsiteX32" fmla="*/ 876300 w 2451100"/>
                  <a:gd name="connsiteY32" fmla="*/ 4483100 h 4953000"/>
                  <a:gd name="connsiteX33" fmla="*/ 1054100 w 2451100"/>
                  <a:gd name="connsiteY33" fmla="*/ 4495800 h 4953000"/>
                  <a:gd name="connsiteX34" fmla="*/ 1244600 w 2451100"/>
                  <a:gd name="connsiteY34" fmla="*/ 4368800 h 4953000"/>
                  <a:gd name="connsiteX35" fmla="*/ 1498600 w 2451100"/>
                  <a:gd name="connsiteY35" fmla="*/ 4381500 h 4953000"/>
                  <a:gd name="connsiteX36" fmla="*/ 1498600 w 2451100"/>
                  <a:gd name="connsiteY36" fmla="*/ 4483100 h 4953000"/>
                  <a:gd name="connsiteX37" fmla="*/ 1308100 w 2451100"/>
                  <a:gd name="connsiteY37" fmla="*/ 4787900 h 4953000"/>
                  <a:gd name="connsiteX38" fmla="*/ 1358900 w 2451100"/>
                  <a:gd name="connsiteY38" fmla="*/ 4940300 h 4953000"/>
                  <a:gd name="connsiteX39" fmla="*/ 1422400 w 2451100"/>
                  <a:gd name="connsiteY39" fmla="*/ 4953000 h 4953000"/>
                  <a:gd name="connsiteX40" fmla="*/ 1638300 w 2451100"/>
                  <a:gd name="connsiteY40" fmla="*/ 4838700 h 4953000"/>
                  <a:gd name="connsiteX41" fmla="*/ 1689100 w 2451100"/>
                  <a:gd name="connsiteY41" fmla="*/ 4724400 h 4953000"/>
                  <a:gd name="connsiteX42" fmla="*/ 1828800 w 2451100"/>
                  <a:gd name="connsiteY42" fmla="*/ 4368800 h 4953000"/>
                  <a:gd name="connsiteX43" fmla="*/ 2070100 w 2451100"/>
                  <a:gd name="connsiteY43" fmla="*/ 4330700 h 4953000"/>
                  <a:gd name="connsiteX44" fmla="*/ 2146300 w 2451100"/>
                  <a:gd name="connsiteY44" fmla="*/ 4381500 h 4953000"/>
                  <a:gd name="connsiteX45" fmla="*/ 2209800 w 2451100"/>
                  <a:gd name="connsiteY45" fmla="*/ 4305300 h 4953000"/>
                  <a:gd name="connsiteX46" fmla="*/ 2324100 w 2451100"/>
                  <a:gd name="connsiteY46" fmla="*/ 4292600 h 4953000"/>
                  <a:gd name="connsiteX47" fmla="*/ 2438400 w 2451100"/>
                  <a:gd name="connsiteY47" fmla="*/ 4203700 h 4953000"/>
                  <a:gd name="connsiteX48" fmla="*/ 2451100 w 2451100"/>
                  <a:gd name="connsiteY48" fmla="*/ 3619500 h 4953000"/>
                  <a:gd name="connsiteX49" fmla="*/ 2425700 w 2451100"/>
                  <a:gd name="connsiteY49" fmla="*/ 3530600 h 4953000"/>
                  <a:gd name="connsiteX50" fmla="*/ 2108200 w 2451100"/>
                  <a:gd name="connsiteY50" fmla="*/ 3492500 h 4953000"/>
                  <a:gd name="connsiteX51" fmla="*/ 1955800 w 2451100"/>
                  <a:gd name="connsiteY51" fmla="*/ 3390900 h 4953000"/>
                  <a:gd name="connsiteX52" fmla="*/ 1981200 w 2451100"/>
                  <a:gd name="connsiteY52" fmla="*/ 3302000 h 4953000"/>
                  <a:gd name="connsiteX53" fmla="*/ 2032000 w 2451100"/>
                  <a:gd name="connsiteY53" fmla="*/ 3263900 h 4953000"/>
                  <a:gd name="connsiteX54" fmla="*/ 2146300 w 2451100"/>
                  <a:gd name="connsiteY54" fmla="*/ 2565400 h 4953000"/>
                  <a:gd name="connsiteX55" fmla="*/ 2108200 w 2451100"/>
                  <a:gd name="connsiteY55" fmla="*/ 2501900 h 4953000"/>
                  <a:gd name="connsiteX56" fmla="*/ 2273300 w 2451100"/>
                  <a:gd name="connsiteY56" fmla="*/ 2082800 h 4953000"/>
                  <a:gd name="connsiteX57" fmla="*/ 2235200 w 2451100"/>
                  <a:gd name="connsiteY57" fmla="*/ 2032000 h 4953000"/>
                  <a:gd name="connsiteX58" fmla="*/ 2260600 w 2451100"/>
                  <a:gd name="connsiteY58" fmla="*/ 1409700 h 4953000"/>
                  <a:gd name="connsiteX59" fmla="*/ 1651000 w 2451100"/>
                  <a:gd name="connsiteY59" fmla="*/ 863600 h 4953000"/>
                  <a:gd name="connsiteX60" fmla="*/ 1612900 w 2451100"/>
                  <a:gd name="connsiteY60" fmla="*/ 749300 h 4953000"/>
                  <a:gd name="connsiteX61" fmla="*/ 1676400 w 2451100"/>
                  <a:gd name="connsiteY61" fmla="*/ 609600 h 4953000"/>
                  <a:gd name="connsiteX62" fmla="*/ 1689100 w 2451100"/>
                  <a:gd name="connsiteY62" fmla="*/ 533400 h 4953000"/>
                  <a:gd name="connsiteX63" fmla="*/ 1663700 w 2451100"/>
                  <a:gd name="connsiteY63" fmla="*/ 520700 h 4953000"/>
                  <a:gd name="connsiteX64" fmla="*/ 1651000 w 2451100"/>
                  <a:gd name="connsiteY64" fmla="*/ 241300 h 4953000"/>
                  <a:gd name="connsiteX65" fmla="*/ 1562100 w 2451100"/>
                  <a:gd name="connsiteY65" fmla="*/ 88900 h 4953000"/>
                  <a:gd name="connsiteX66" fmla="*/ 1371600 w 2451100"/>
                  <a:gd name="connsiteY66" fmla="*/ 12700 h 4953000"/>
                  <a:gd name="connsiteX67" fmla="*/ 1270000 w 2451100"/>
                  <a:gd name="connsiteY67" fmla="*/ 0 h 4953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2451100" h="4953000">
                    <a:moveTo>
                      <a:pt x="1270000" y="0"/>
                    </a:moveTo>
                    <a:lnTo>
                      <a:pt x="1130300" y="114300"/>
                    </a:lnTo>
                    <a:lnTo>
                      <a:pt x="1028700" y="228600"/>
                    </a:lnTo>
                    <a:lnTo>
                      <a:pt x="1028700" y="355600"/>
                    </a:lnTo>
                    <a:lnTo>
                      <a:pt x="1028700" y="546100"/>
                    </a:lnTo>
                    <a:lnTo>
                      <a:pt x="1079500" y="596900"/>
                    </a:lnTo>
                    <a:lnTo>
                      <a:pt x="1168400" y="914400"/>
                    </a:lnTo>
                    <a:lnTo>
                      <a:pt x="1003300" y="914400"/>
                    </a:lnTo>
                    <a:lnTo>
                      <a:pt x="927100" y="1016000"/>
                    </a:lnTo>
                    <a:lnTo>
                      <a:pt x="876300" y="1270000"/>
                    </a:lnTo>
                    <a:lnTo>
                      <a:pt x="876300" y="1409700"/>
                    </a:lnTo>
                    <a:lnTo>
                      <a:pt x="889000" y="1473200"/>
                    </a:lnTo>
                    <a:lnTo>
                      <a:pt x="850900" y="1536700"/>
                    </a:lnTo>
                    <a:lnTo>
                      <a:pt x="850900" y="1612900"/>
                    </a:lnTo>
                    <a:lnTo>
                      <a:pt x="812800" y="1676400"/>
                    </a:lnTo>
                    <a:lnTo>
                      <a:pt x="266700" y="1460500"/>
                    </a:lnTo>
                    <a:lnTo>
                      <a:pt x="241300" y="1460500"/>
                    </a:lnTo>
                    <a:lnTo>
                      <a:pt x="0" y="2044700"/>
                    </a:lnTo>
                    <a:lnTo>
                      <a:pt x="254000" y="2133600"/>
                    </a:lnTo>
                    <a:lnTo>
                      <a:pt x="254000" y="2197100"/>
                    </a:lnTo>
                    <a:lnTo>
                      <a:pt x="355600" y="2197100"/>
                    </a:lnTo>
                    <a:lnTo>
                      <a:pt x="381000" y="2298700"/>
                    </a:lnTo>
                    <a:lnTo>
                      <a:pt x="584200" y="2362200"/>
                    </a:lnTo>
                    <a:lnTo>
                      <a:pt x="685800" y="2349500"/>
                    </a:lnTo>
                    <a:lnTo>
                      <a:pt x="952500" y="2451100"/>
                    </a:lnTo>
                    <a:lnTo>
                      <a:pt x="850900" y="2832100"/>
                    </a:lnTo>
                    <a:lnTo>
                      <a:pt x="914400" y="2984500"/>
                    </a:lnTo>
                    <a:lnTo>
                      <a:pt x="1016000" y="3848100"/>
                    </a:lnTo>
                    <a:lnTo>
                      <a:pt x="1092200" y="4127500"/>
                    </a:lnTo>
                    <a:lnTo>
                      <a:pt x="1003300" y="4216400"/>
                    </a:lnTo>
                    <a:lnTo>
                      <a:pt x="787400" y="4318000"/>
                    </a:lnTo>
                    <a:lnTo>
                      <a:pt x="787400" y="4419600"/>
                    </a:lnTo>
                    <a:lnTo>
                      <a:pt x="876300" y="4483100"/>
                    </a:lnTo>
                    <a:lnTo>
                      <a:pt x="1054100" y="4495800"/>
                    </a:lnTo>
                    <a:lnTo>
                      <a:pt x="1244600" y="4368800"/>
                    </a:lnTo>
                    <a:lnTo>
                      <a:pt x="1498600" y="4381500"/>
                    </a:lnTo>
                    <a:lnTo>
                      <a:pt x="1498600" y="4483100"/>
                    </a:lnTo>
                    <a:lnTo>
                      <a:pt x="1308100" y="4787900"/>
                    </a:lnTo>
                    <a:lnTo>
                      <a:pt x="1358900" y="4940300"/>
                    </a:lnTo>
                    <a:lnTo>
                      <a:pt x="1422400" y="4953000"/>
                    </a:lnTo>
                    <a:lnTo>
                      <a:pt x="1638300" y="4838700"/>
                    </a:lnTo>
                    <a:lnTo>
                      <a:pt x="1689100" y="4724400"/>
                    </a:lnTo>
                    <a:lnTo>
                      <a:pt x="1828800" y="4368800"/>
                    </a:lnTo>
                    <a:lnTo>
                      <a:pt x="2070100" y="4330700"/>
                    </a:lnTo>
                    <a:lnTo>
                      <a:pt x="2146300" y="4381500"/>
                    </a:lnTo>
                    <a:lnTo>
                      <a:pt x="2209800" y="4305300"/>
                    </a:lnTo>
                    <a:lnTo>
                      <a:pt x="2324100" y="4292600"/>
                    </a:lnTo>
                    <a:lnTo>
                      <a:pt x="2438400" y="4203700"/>
                    </a:lnTo>
                    <a:lnTo>
                      <a:pt x="2451100" y="3619500"/>
                    </a:lnTo>
                    <a:lnTo>
                      <a:pt x="2425700" y="3530600"/>
                    </a:lnTo>
                    <a:lnTo>
                      <a:pt x="2108200" y="3492500"/>
                    </a:lnTo>
                    <a:lnTo>
                      <a:pt x="1955800" y="3390900"/>
                    </a:lnTo>
                    <a:lnTo>
                      <a:pt x="1981200" y="3302000"/>
                    </a:lnTo>
                    <a:lnTo>
                      <a:pt x="2032000" y="3263900"/>
                    </a:lnTo>
                    <a:lnTo>
                      <a:pt x="2146300" y="2565400"/>
                    </a:lnTo>
                    <a:lnTo>
                      <a:pt x="2108200" y="2501900"/>
                    </a:lnTo>
                    <a:lnTo>
                      <a:pt x="2273300" y="2082800"/>
                    </a:lnTo>
                    <a:lnTo>
                      <a:pt x="2235200" y="2032000"/>
                    </a:lnTo>
                    <a:lnTo>
                      <a:pt x="2260600" y="1409700"/>
                    </a:lnTo>
                    <a:lnTo>
                      <a:pt x="1651000" y="863600"/>
                    </a:lnTo>
                    <a:lnTo>
                      <a:pt x="1612900" y="749300"/>
                    </a:lnTo>
                    <a:lnTo>
                      <a:pt x="1676400" y="609600"/>
                    </a:lnTo>
                    <a:lnTo>
                      <a:pt x="1689100" y="533400"/>
                    </a:lnTo>
                    <a:lnTo>
                      <a:pt x="1663700" y="520700"/>
                    </a:lnTo>
                    <a:lnTo>
                      <a:pt x="1651000" y="241300"/>
                    </a:lnTo>
                    <a:lnTo>
                      <a:pt x="1562100" y="88900"/>
                    </a:lnTo>
                    <a:lnTo>
                      <a:pt x="1371600" y="12700"/>
                    </a:lnTo>
                    <a:lnTo>
                      <a:pt x="1270000" y="0"/>
                    </a:lnTo>
                    <a:close/>
                  </a:path>
                </a:pathLst>
              </a:custGeom>
              <a:solidFill>
                <a:schemeClr val="tx1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0" name="Group 49"/>
              <p:cNvGrpSpPr/>
              <p:nvPr/>
            </p:nvGrpSpPr>
            <p:grpSpPr>
              <a:xfrm>
                <a:off x="8858250" y="1570427"/>
                <a:ext cx="1035050" cy="2747573"/>
                <a:chOff x="8858250" y="1570427"/>
                <a:chExt cx="1035050" cy="2747573"/>
              </a:xfrm>
              <a:solidFill>
                <a:schemeClr val="bg1"/>
              </a:solidFill>
            </p:grpSpPr>
            <p:sp>
              <p:nvSpPr>
                <p:cNvPr id="51" name="Freeform 50"/>
                <p:cNvSpPr/>
                <p:nvPr/>
              </p:nvSpPr>
              <p:spPr>
                <a:xfrm>
                  <a:off x="8858250" y="1718432"/>
                  <a:ext cx="266700" cy="1181100"/>
                </a:xfrm>
                <a:custGeom>
                  <a:avLst/>
                  <a:gdLst>
                    <a:gd name="connsiteX0" fmla="*/ 152400 w 266700"/>
                    <a:gd name="connsiteY0" fmla="*/ 0 h 1181100"/>
                    <a:gd name="connsiteX1" fmla="*/ 165100 w 266700"/>
                    <a:gd name="connsiteY1" fmla="*/ 139700 h 1181100"/>
                    <a:gd name="connsiteX2" fmla="*/ 50800 w 266700"/>
                    <a:gd name="connsiteY2" fmla="*/ 546100 h 1181100"/>
                    <a:gd name="connsiteX3" fmla="*/ 0 w 266700"/>
                    <a:gd name="connsiteY3" fmla="*/ 1181100 h 1181100"/>
                    <a:gd name="connsiteX4" fmla="*/ 88900 w 266700"/>
                    <a:gd name="connsiteY4" fmla="*/ 838200 h 1181100"/>
                    <a:gd name="connsiteX5" fmla="*/ 165100 w 266700"/>
                    <a:gd name="connsiteY5" fmla="*/ 419100 h 1181100"/>
                    <a:gd name="connsiteX6" fmla="*/ 215900 w 266700"/>
                    <a:gd name="connsiteY6" fmla="*/ 241300 h 1181100"/>
                    <a:gd name="connsiteX7" fmla="*/ 228600 w 266700"/>
                    <a:gd name="connsiteY7" fmla="*/ 165100 h 1181100"/>
                    <a:gd name="connsiteX8" fmla="*/ 266700 w 266700"/>
                    <a:gd name="connsiteY8" fmla="*/ 165100 h 1181100"/>
                    <a:gd name="connsiteX9" fmla="*/ 152400 w 266700"/>
                    <a:gd name="connsiteY9" fmla="*/ 0 h 1181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66700" h="1181100">
                      <a:moveTo>
                        <a:pt x="152400" y="0"/>
                      </a:moveTo>
                      <a:lnTo>
                        <a:pt x="165100" y="139700"/>
                      </a:lnTo>
                      <a:lnTo>
                        <a:pt x="50800" y="546100"/>
                      </a:lnTo>
                      <a:lnTo>
                        <a:pt x="0" y="1181100"/>
                      </a:lnTo>
                      <a:lnTo>
                        <a:pt x="88900" y="838200"/>
                      </a:lnTo>
                      <a:lnTo>
                        <a:pt x="165100" y="419100"/>
                      </a:lnTo>
                      <a:lnTo>
                        <a:pt x="215900" y="241300"/>
                      </a:lnTo>
                      <a:lnTo>
                        <a:pt x="228600" y="165100"/>
                      </a:lnTo>
                      <a:lnTo>
                        <a:pt x="266700" y="165100"/>
                      </a:lnTo>
                      <a:lnTo>
                        <a:pt x="15240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" name="Freeform 51"/>
                <p:cNvSpPr/>
                <p:nvPr/>
              </p:nvSpPr>
              <p:spPr>
                <a:xfrm>
                  <a:off x="9124950" y="1570427"/>
                  <a:ext cx="355600" cy="609600"/>
                </a:xfrm>
                <a:custGeom>
                  <a:avLst/>
                  <a:gdLst>
                    <a:gd name="connsiteX0" fmla="*/ 342900 w 355600"/>
                    <a:gd name="connsiteY0" fmla="*/ 0 h 609600"/>
                    <a:gd name="connsiteX1" fmla="*/ 355600 w 355600"/>
                    <a:gd name="connsiteY1" fmla="*/ 76200 h 609600"/>
                    <a:gd name="connsiteX2" fmla="*/ 38100 w 355600"/>
                    <a:gd name="connsiteY2" fmla="*/ 609600 h 609600"/>
                    <a:gd name="connsiteX3" fmla="*/ 0 w 355600"/>
                    <a:gd name="connsiteY3" fmla="*/ 342900 h 609600"/>
                    <a:gd name="connsiteX4" fmla="*/ 0 w 355600"/>
                    <a:gd name="connsiteY4" fmla="*/ 342900 h 609600"/>
                    <a:gd name="connsiteX5" fmla="*/ 114300 w 355600"/>
                    <a:gd name="connsiteY5" fmla="*/ 254000 h 609600"/>
                    <a:gd name="connsiteX6" fmla="*/ 165100 w 355600"/>
                    <a:gd name="connsiteY6" fmla="*/ 241300 h 609600"/>
                    <a:gd name="connsiteX7" fmla="*/ 254000 w 355600"/>
                    <a:gd name="connsiteY7" fmla="*/ 165100 h 609600"/>
                    <a:gd name="connsiteX8" fmla="*/ 342900 w 355600"/>
                    <a:gd name="connsiteY8" fmla="*/ 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55600" h="609600">
                      <a:moveTo>
                        <a:pt x="342900" y="0"/>
                      </a:moveTo>
                      <a:lnTo>
                        <a:pt x="355600" y="76200"/>
                      </a:lnTo>
                      <a:lnTo>
                        <a:pt x="38100" y="609600"/>
                      </a:lnTo>
                      <a:lnTo>
                        <a:pt x="0" y="342900"/>
                      </a:lnTo>
                      <a:lnTo>
                        <a:pt x="0" y="342900"/>
                      </a:lnTo>
                      <a:lnTo>
                        <a:pt x="114300" y="254000"/>
                      </a:lnTo>
                      <a:lnTo>
                        <a:pt x="165100" y="241300"/>
                      </a:lnTo>
                      <a:lnTo>
                        <a:pt x="254000" y="165100"/>
                      </a:lnTo>
                      <a:lnTo>
                        <a:pt x="34290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3" name="Freeform 52"/>
                <p:cNvSpPr/>
                <p:nvPr/>
              </p:nvSpPr>
              <p:spPr>
                <a:xfrm>
                  <a:off x="9715500" y="4241800"/>
                  <a:ext cx="177800" cy="76200"/>
                </a:xfrm>
                <a:custGeom>
                  <a:avLst/>
                  <a:gdLst>
                    <a:gd name="connsiteX0" fmla="*/ 165100 w 177800"/>
                    <a:gd name="connsiteY0" fmla="*/ 76200 h 76200"/>
                    <a:gd name="connsiteX1" fmla="*/ 0 w 177800"/>
                    <a:gd name="connsiteY1" fmla="*/ 76200 h 76200"/>
                    <a:gd name="connsiteX2" fmla="*/ 76200 w 177800"/>
                    <a:gd name="connsiteY2" fmla="*/ 0 h 76200"/>
                    <a:gd name="connsiteX3" fmla="*/ 177800 w 177800"/>
                    <a:gd name="connsiteY3" fmla="*/ 25400 h 76200"/>
                    <a:gd name="connsiteX4" fmla="*/ 165100 w 177800"/>
                    <a:gd name="connsiteY4" fmla="*/ 76200 h 76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7800" h="76200">
                      <a:moveTo>
                        <a:pt x="165100" y="76200"/>
                      </a:moveTo>
                      <a:lnTo>
                        <a:pt x="0" y="76200"/>
                      </a:lnTo>
                      <a:lnTo>
                        <a:pt x="76200" y="0"/>
                      </a:lnTo>
                      <a:lnTo>
                        <a:pt x="177800" y="25400"/>
                      </a:lnTo>
                      <a:lnTo>
                        <a:pt x="165100" y="7620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54" name="Group 53"/>
            <p:cNvGrpSpPr/>
            <p:nvPr/>
          </p:nvGrpSpPr>
          <p:grpSpPr>
            <a:xfrm>
              <a:off x="3331743" y="2586444"/>
              <a:ext cx="634857" cy="689106"/>
              <a:chOff x="2667826" y="1859347"/>
              <a:chExt cx="2021797" cy="2194560"/>
            </a:xfrm>
          </p:grpSpPr>
          <p:sp>
            <p:nvSpPr>
              <p:cNvPr id="55" name="Freeform 54"/>
              <p:cNvSpPr/>
              <p:nvPr/>
            </p:nvSpPr>
            <p:spPr>
              <a:xfrm>
                <a:off x="2667826" y="1859347"/>
                <a:ext cx="2021797" cy="2194560"/>
              </a:xfrm>
              <a:custGeom>
                <a:avLst/>
                <a:gdLst>
                  <a:gd name="connsiteX0" fmla="*/ 1402080 w 3299460"/>
                  <a:gd name="connsiteY0" fmla="*/ 15240 h 3581400"/>
                  <a:gd name="connsiteX1" fmla="*/ 1287780 w 3299460"/>
                  <a:gd name="connsiteY1" fmla="*/ 53340 h 3581400"/>
                  <a:gd name="connsiteX2" fmla="*/ 1196340 w 3299460"/>
                  <a:gd name="connsiteY2" fmla="*/ 175260 h 3581400"/>
                  <a:gd name="connsiteX3" fmla="*/ 1181100 w 3299460"/>
                  <a:gd name="connsiteY3" fmla="*/ 434340 h 3581400"/>
                  <a:gd name="connsiteX4" fmla="*/ 1150620 w 3299460"/>
                  <a:gd name="connsiteY4" fmla="*/ 411480 h 3581400"/>
                  <a:gd name="connsiteX5" fmla="*/ 1127760 w 3299460"/>
                  <a:gd name="connsiteY5" fmla="*/ 419100 h 3581400"/>
                  <a:gd name="connsiteX6" fmla="*/ 1112520 w 3299460"/>
                  <a:gd name="connsiteY6" fmla="*/ 449580 h 3581400"/>
                  <a:gd name="connsiteX7" fmla="*/ 1127760 w 3299460"/>
                  <a:gd name="connsiteY7" fmla="*/ 662940 h 3581400"/>
                  <a:gd name="connsiteX8" fmla="*/ 1173480 w 3299460"/>
                  <a:gd name="connsiteY8" fmla="*/ 708660 h 3581400"/>
                  <a:gd name="connsiteX9" fmla="*/ 1196340 w 3299460"/>
                  <a:gd name="connsiteY9" fmla="*/ 708660 h 3581400"/>
                  <a:gd name="connsiteX10" fmla="*/ 1211580 w 3299460"/>
                  <a:gd name="connsiteY10" fmla="*/ 929640 h 3581400"/>
                  <a:gd name="connsiteX11" fmla="*/ 1165860 w 3299460"/>
                  <a:gd name="connsiteY11" fmla="*/ 952500 h 3581400"/>
                  <a:gd name="connsiteX12" fmla="*/ 1181100 w 3299460"/>
                  <a:gd name="connsiteY12" fmla="*/ 1005840 h 3581400"/>
                  <a:gd name="connsiteX13" fmla="*/ 1120140 w 3299460"/>
                  <a:gd name="connsiteY13" fmla="*/ 1028700 h 3581400"/>
                  <a:gd name="connsiteX14" fmla="*/ 929640 w 3299460"/>
                  <a:gd name="connsiteY14" fmla="*/ 1097280 h 3581400"/>
                  <a:gd name="connsiteX15" fmla="*/ 784860 w 3299460"/>
                  <a:gd name="connsiteY15" fmla="*/ 1143000 h 3581400"/>
                  <a:gd name="connsiteX16" fmla="*/ 601980 w 3299460"/>
                  <a:gd name="connsiteY16" fmla="*/ 1173480 h 3581400"/>
                  <a:gd name="connsiteX17" fmla="*/ 518160 w 3299460"/>
                  <a:gd name="connsiteY17" fmla="*/ 1219200 h 3581400"/>
                  <a:gd name="connsiteX18" fmla="*/ 426720 w 3299460"/>
                  <a:gd name="connsiteY18" fmla="*/ 1295400 h 3581400"/>
                  <a:gd name="connsiteX19" fmla="*/ 388620 w 3299460"/>
                  <a:gd name="connsiteY19" fmla="*/ 1455420 h 3581400"/>
                  <a:gd name="connsiteX20" fmla="*/ 350520 w 3299460"/>
                  <a:gd name="connsiteY20" fmla="*/ 1577340 h 3581400"/>
                  <a:gd name="connsiteX21" fmla="*/ 304800 w 3299460"/>
                  <a:gd name="connsiteY21" fmla="*/ 1653540 h 3581400"/>
                  <a:gd name="connsiteX22" fmla="*/ 312420 w 3299460"/>
                  <a:gd name="connsiteY22" fmla="*/ 1722120 h 3581400"/>
                  <a:gd name="connsiteX23" fmla="*/ 236220 w 3299460"/>
                  <a:gd name="connsiteY23" fmla="*/ 1821180 h 3581400"/>
                  <a:gd name="connsiteX24" fmla="*/ 236220 w 3299460"/>
                  <a:gd name="connsiteY24" fmla="*/ 1882140 h 3581400"/>
                  <a:gd name="connsiteX25" fmla="*/ 182880 w 3299460"/>
                  <a:gd name="connsiteY25" fmla="*/ 1958340 h 3581400"/>
                  <a:gd name="connsiteX26" fmla="*/ 167640 w 3299460"/>
                  <a:gd name="connsiteY26" fmla="*/ 2049780 h 3581400"/>
                  <a:gd name="connsiteX27" fmla="*/ 114300 w 3299460"/>
                  <a:gd name="connsiteY27" fmla="*/ 2103120 h 3581400"/>
                  <a:gd name="connsiteX28" fmla="*/ 60960 w 3299460"/>
                  <a:gd name="connsiteY28" fmla="*/ 2148840 h 3581400"/>
                  <a:gd name="connsiteX29" fmla="*/ 45720 w 3299460"/>
                  <a:gd name="connsiteY29" fmla="*/ 2255520 h 3581400"/>
                  <a:gd name="connsiteX30" fmla="*/ 0 w 3299460"/>
                  <a:gd name="connsiteY30" fmla="*/ 2354580 h 3581400"/>
                  <a:gd name="connsiteX31" fmla="*/ 15240 w 3299460"/>
                  <a:gd name="connsiteY31" fmla="*/ 2476500 h 3581400"/>
                  <a:gd name="connsiteX32" fmla="*/ 45720 w 3299460"/>
                  <a:gd name="connsiteY32" fmla="*/ 2583180 h 3581400"/>
                  <a:gd name="connsiteX33" fmla="*/ 45720 w 3299460"/>
                  <a:gd name="connsiteY33" fmla="*/ 2636520 h 3581400"/>
                  <a:gd name="connsiteX34" fmla="*/ 137160 w 3299460"/>
                  <a:gd name="connsiteY34" fmla="*/ 2887980 h 3581400"/>
                  <a:gd name="connsiteX35" fmla="*/ 297180 w 3299460"/>
                  <a:gd name="connsiteY35" fmla="*/ 3116580 h 3581400"/>
                  <a:gd name="connsiteX36" fmla="*/ 518160 w 3299460"/>
                  <a:gd name="connsiteY36" fmla="*/ 3444240 h 3581400"/>
                  <a:gd name="connsiteX37" fmla="*/ 525780 w 3299460"/>
                  <a:gd name="connsiteY37" fmla="*/ 3581400 h 3581400"/>
                  <a:gd name="connsiteX38" fmla="*/ 2781300 w 3299460"/>
                  <a:gd name="connsiteY38" fmla="*/ 3581400 h 3581400"/>
                  <a:gd name="connsiteX39" fmla="*/ 2758440 w 3299460"/>
                  <a:gd name="connsiteY39" fmla="*/ 3398520 h 3581400"/>
                  <a:gd name="connsiteX40" fmla="*/ 2796540 w 3299460"/>
                  <a:gd name="connsiteY40" fmla="*/ 3398520 h 3581400"/>
                  <a:gd name="connsiteX41" fmla="*/ 2743200 w 3299460"/>
                  <a:gd name="connsiteY41" fmla="*/ 3116580 h 3581400"/>
                  <a:gd name="connsiteX42" fmla="*/ 3086100 w 3299460"/>
                  <a:gd name="connsiteY42" fmla="*/ 2697480 h 3581400"/>
                  <a:gd name="connsiteX43" fmla="*/ 3299460 w 3299460"/>
                  <a:gd name="connsiteY43" fmla="*/ 2354580 h 3581400"/>
                  <a:gd name="connsiteX44" fmla="*/ 3291840 w 3299460"/>
                  <a:gd name="connsiteY44" fmla="*/ 2209800 h 3581400"/>
                  <a:gd name="connsiteX45" fmla="*/ 3200400 w 3299460"/>
                  <a:gd name="connsiteY45" fmla="*/ 2026920 h 3581400"/>
                  <a:gd name="connsiteX46" fmla="*/ 3025140 w 3299460"/>
                  <a:gd name="connsiteY46" fmla="*/ 1775460 h 3581400"/>
                  <a:gd name="connsiteX47" fmla="*/ 2987040 w 3299460"/>
                  <a:gd name="connsiteY47" fmla="*/ 1706880 h 3581400"/>
                  <a:gd name="connsiteX48" fmla="*/ 2948940 w 3299460"/>
                  <a:gd name="connsiteY48" fmla="*/ 1729740 h 3581400"/>
                  <a:gd name="connsiteX49" fmla="*/ 2857500 w 3299460"/>
                  <a:gd name="connsiteY49" fmla="*/ 1584960 h 3581400"/>
                  <a:gd name="connsiteX50" fmla="*/ 2788920 w 3299460"/>
                  <a:gd name="connsiteY50" fmla="*/ 1455420 h 3581400"/>
                  <a:gd name="connsiteX51" fmla="*/ 2750820 w 3299460"/>
                  <a:gd name="connsiteY51" fmla="*/ 1455420 h 3581400"/>
                  <a:gd name="connsiteX52" fmla="*/ 2705100 w 3299460"/>
                  <a:gd name="connsiteY52" fmla="*/ 1417320 h 3581400"/>
                  <a:gd name="connsiteX53" fmla="*/ 2667000 w 3299460"/>
                  <a:gd name="connsiteY53" fmla="*/ 1188720 h 3581400"/>
                  <a:gd name="connsiteX54" fmla="*/ 2613660 w 3299460"/>
                  <a:gd name="connsiteY54" fmla="*/ 1135380 h 3581400"/>
                  <a:gd name="connsiteX55" fmla="*/ 1859280 w 3299460"/>
                  <a:gd name="connsiteY55" fmla="*/ 975360 h 3581400"/>
                  <a:gd name="connsiteX56" fmla="*/ 1760220 w 3299460"/>
                  <a:gd name="connsiteY56" fmla="*/ 929640 h 3581400"/>
                  <a:gd name="connsiteX57" fmla="*/ 1805940 w 3299460"/>
                  <a:gd name="connsiteY57" fmla="*/ 769620 h 3581400"/>
                  <a:gd name="connsiteX58" fmla="*/ 1851660 w 3299460"/>
                  <a:gd name="connsiteY58" fmla="*/ 739140 h 3581400"/>
                  <a:gd name="connsiteX59" fmla="*/ 1874520 w 3299460"/>
                  <a:gd name="connsiteY59" fmla="*/ 655320 h 3581400"/>
                  <a:gd name="connsiteX60" fmla="*/ 1874520 w 3299460"/>
                  <a:gd name="connsiteY60" fmla="*/ 548640 h 3581400"/>
                  <a:gd name="connsiteX61" fmla="*/ 1882140 w 3299460"/>
                  <a:gd name="connsiteY61" fmla="*/ 480060 h 3581400"/>
                  <a:gd name="connsiteX62" fmla="*/ 1859280 w 3299460"/>
                  <a:gd name="connsiteY62" fmla="*/ 472440 h 3581400"/>
                  <a:gd name="connsiteX63" fmla="*/ 1866900 w 3299460"/>
                  <a:gd name="connsiteY63" fmla="*/ 381000 h 3581400"/>
                  <a:gd name="connsiteX64" fmla="*/ 1859280 w 3299460"/>
                  <a:gd name="connsiteY64" fmla="*/ 228600 h 3581400"/>
                  <a:gd name="connsiteX65" fmla="*/ 1813560 w 3299460"/>
                  <a:gd name="connsiteY65" fmla="*/ 144780 h 3581400"/>
                  <a:gd name="connsiteX66" fmla="*/ 1737360 w 3299460"/>
                  <a:gd name="connsiteY66" fmla="*/ 76200 h 3581400"/>
                  <a:gd name="connsiteX67" fmla="*/ 1699260 w 3299460"/>
                  <a:gd name="connsiteY67" fmla="*/ 60960 h 3581400"/>
                  <a:gd name="connsiteX68" fmla="*/ 1600200 w 3299460"/>
                  <a:gd name="connsiteY68" fmla="*/ 7620 h 3581400"/>
                  <a:gd name="connsiteX69" fmla="*/ 1485900 w 3299460"/>
                  <a:gd name="connsiteY69" fmla="*/ 0 h 3581400"/>
                  <a:gd name="connsiteX70" fmla="*/ 1402080 w 3299460"/>
                  <a:gd name="connsiteY70" fmla="*/ 15240 h 3581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3299460" h="3581400">
                    <a:moveTo>
                      <a:pt x="1402080" y="15240"/>
                    </a:moveTo>
                    <a:lnTo>
                      <a:pt x="1287780" y="53340"/>
                    </a:lnTo>
                    <a:lnTo>
                      <a:pt x="1196340" y="175260"/>
                    </a:lnTo>
                    <a:lnTo>
                      <a:pt x="1181100" y="434340"/>
                    </a:lnTo>
                    <a:lnTo>
                      <a:pt x="1150620" y="411480"/>
                    </a:lnTo>
                    <a:lnTo>
                      <a:pt x="1127760" y="419100"/>
                    </a:lnTo>
                    <a:lnTo>
                      <a:pt x="1112520" y="449580"/>
                    </a:lnTo>
                    <a:lnTo>
                      <a:pt x="1127760" y="662940"/>
                    </a:lnTo>
                    <a:lnTo>
                      <a:pt x="1173480" y="708660"/>
                    </a:lnTo>
                    <a:lnTo>
                      <a:pt x="1196340" y="708660"/>
                    </a:lnTo>
                    <a:lnTo>
                      <a:pt x="1211580" y="929640"/>
                    </a:lnTo>
                    <a:lnTo>
                      <a:pt x="1165860" y="952500"/>
                    </a:lnTo>
                    <a:lnTo>
                      <a:pt x="1181100" y="1005840"/>
                    </a:lnTo>
                    <a:lnTo>
                      <a:pt x="1120140" y="1028700"/>
                    </a:lnTo>
                    <a:lnTo>
                      <a:pt x="929640" y="1097280"/>
                    </a:lnTo>
                    <a:lnTo>
                      <a:pt x="784860" y="1143000"/>
                    </a:lnTo>
                    <a:lnTo>
                      <a:pt x="601980" y="1173480"/>
                    </a:lnTo>
                    <a:lnTo>
                      <a:pt x="518160" y="1219200"/>
                    </a:lnTo>
                    <a:lnTo>
                      <a:pt x="426720" y="1295400"/>
                    </a:lnTo>
                    <a:lnTo>
                      <a:pt x="388620" y="1455420"/>
                    </a:lnTo>
                    <a:lnTo>
                      <a:pt x="350520" y="1577340"/>
                    </a:lnTo>
                    <a:lnTo>
                      <a:pt x="304800" y="1653540"/>
                    </a:lnTo>
                    <a:lnTo>
                      <a:pt x="312420" y="1722120"/>
                    </a:lnTo>
                    <a:lnTo>
                      <a:pt x="236220" y="1821180"/>
                    </a:lnTo>
                    <a:lnTo>
                      <a:pt x="236220" y="1882140"/>
                    </a:lnTo>
                    <a:lnTo>
                      <a:pt x="182880" y="1958340"/>
                    </a:lnTo>
                    <a:lnTo>
                      <a:pt x="167640" y="2049780"/>
                    </a:lnTo>
                    <a:lnTo>
                      <a:pt x="114300" y="2103120"/>
                    </a:lnTo>
                    <a:lnTo>
                      <a:pt x="60960" y="2148840"/>
                    </a:lnTo>
                    <a:lnTo>
                      <a:pt x="45720" y="2255520"/>
                    </a:lnTo>
                    <a:lnTo>
                      <a:pt x="0" y="2354580"/>
                    </a:lnTo>
                    <a:lnTo>
                      <a:pt x="15240" y="2476500"/>
                    </a:lnTo>
                    <a:lnTo>
                      <a:pt x="45720" y="2583180"/>
                    </a:lnTo>
                    <a:lnTo>
                      <a:pt x="45720" y="2636520"/>
                    </a:lnTo>
                    <a:lnTo>
                      <a:pt x="137160" y="2887980"/>
                    </a:lnTo>
                    <a:lnTo>
                      <a:pt x="297180" y="3116580"/>
                    </a:lnTo>
                    <a:lnTo>
                      <a:pt x="518160" y="3444240"/>
                    </a:lnTo>
                    <a:lnTo>
                      <a:pt x="525780" y="3581400"/>
                    </a:lnTo>
                    <a:lnTo>
                      <a:pt x="2781300" y="3581400"/>
                    </a:lnTo>
                    <a:lnTo>
                      <a:pt x="2758440" y="3398520"/>
                    </a:lnTo>
                    <a:lnTo>
                      <a:pt x="2796540" y="3398520"/>
                    </a:lnTo>
                    <a:lnTo>
                      <a:pt x="2743200" y="3116580"/>
                    </a:lnTo>
                    <a:lnTo>
                      <a:pt x="3086100" y="2697480"/>
                    </a:lnTo>
                    <a:lnTo>
                      <a:pt x="3299460" y="2354580"/>
                    </a:lnTo>
                    <a:lnTo>
                      <a:pt x="3291840" y="2209800"/>
                    </a:lnTo>
                    <a:lnTo>
                      <a:pt x="3200400" y="2026920"/>
                    </a:lnTo>
                    <a:lnTo>
                      <a:pt x="3025140" y="1775460"/>
                    </a:lnTo>
                    <a:lnTo>
                      <a:pt x="2987040" y="1706880"/>
                    </a:lnTo>
                    <a:lnTo>
                      <a:pt x="2948940" y="1729740"/>
                    </a:lnTo>
                    <a:lnTo>
                      <a:pt x="2857500" y="1584960"/>
                    </a:lnTo>
                    <a:lnTo>
                      <a:pt x="2788920" y="1455420"/>
                    </a:lnTo>
                    <a:lnTo>
                      <a:pt x="2750820" y="1455420"/>
                    </a:lnTo>
                    <a:lnTo>
                      <a:pt x="2705100" y="1417320"/>
                    </a:lnTo>
                    <a:lnTo>
                      <a:pt x="2667000" y="1188720"/>
                    </a:lnTo>
                    <a:lnTo>
                      <a:pt x="2613660" y="1135380"/>
                    </a:lnTo>
                    <a:lnTo>
                      <a:pt x="1859280" y="975360"/>
                    </a:lnTo>
                    <a:lnTo>
                      <a:pt x="1760220" y="929640"/>
                    </a:lnTo>
                    <a:lnTo>
                      <a:pt x="1805940" y="769620"/>
                    </a:lnTo>
                    <a:lnTo>
                      <a:pt x="1851660" y="739140"/>
                    </a:lnTo>
                    <a:lnTo>
                      <a:pt x="1874520" y="655320"/>
                    </a:lnTo>
                    <a:lnTo>
                      <a:pt x="1874520" y="548640"/>
                    </a:lnTo>
                    <a:lnTo>
                      <a:pt x="1882140" y="480060"/>
                    </a:lnTo>
                    <a:lnTo>
                      <a:pt x="1859280" y="472440"/>
                    </a:lnTo>
                    <a:lnTo>
                      <a:pt x="1866900" y="381000"/>
                    </a:lnTo>
                    <a:lnTo>
                      <a:pt x="1859280" y="228600"/>
                    </a:lnTo>
                    <a:lnTo>
                      <a:pt x="1813560" y="144780"/>
                    </a:lnTo>
                    <a:lnTo>
                      <a:pt x="1737360" y="76200"/>
                    </a:lnTo>
                    <a:lnTo>
                      <a:pt x="1699260" y="60960"/>
                    </a:lnTo>
                    <a:lnTo>
                      <a:pt x="1600200" y="7620"/>
                    </a:lnTo>
                    <a:lnTo>
                      <a:pt x="1485900" y="0"/>
                    </a:lnTo>
                    <a:lnTo>
                      <a:pt x="1402080" y="1524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6" name="Freeform 55"/>
              <p:cNvSpPr/>
              <p:nvPr/>
            </p:nvSpPr>
            <p:spPr>
              <a:xfrm>
                <a:off x="3382226" y="2428999"/>
                <a:ext cx="135409" cy="340857"/>
              </a:xfrm>
              <a:custGeom>
                <a:avLst/>
                <a:gdLst>
                  <a:gd name="connsiteX0" fmla="*/ 38100 w 220980"/>
                  <a:gd name="connsiteY0" fmla="*/ 0 h 556260"/>
                  <a:gd name="connsiteX1" fmla="*/ 0 w 220980"/>
                  <a:gd name="connsiteY1" fmla="*/ 53340 h 556260"/>
                  <a:gd name="connsiteX2" fmla="*/ 0 w 220980"/>
                  <a:gd name="connsiteY2" fmla="*/ 167640 h 556260"/>
                  <a:gd name="connsiteX3" fmla="*/ 15240 w 220980"/>
                  <a:gd name="connsiteY3" fmla="*/ 281940 h 556260"/>
                  <a:gd name="connsiteX4" fmla="*/ 68580 w 220980"/>
                  <a:gd name="connsiteY4" fmla="*/ 556260 h 556260"/>
                  <a:gd name="connsiteX5" fmla="*/ 152400 w 220980"/>
                  <a:gd name="connsiteY5" fmla="*/ 373380 h 556260"/>
                  <a:gd name="connsiteX6" fmla="*/ 175260 w 220980"/>
                  <a:gd name="connsiteY6" fmla="*/ 304800 h 556260"/>
                  <a:gd name="connsiteX7" fmla="*/ 220980 w 220980"/>
                  <a:gd name="connsiteY7" fmla="*/ 281940 h 556260"/>
                  <a:gd name="connsiteX8" fmla="*/ 182880 w 220980"/>
                  <a:gd name="connsiteY8" fmla="*/ 251460 h 556260"/>
                  <a:gd name="connsiteX9" fmla="*/ 83820 w 220980"/>
                  <a:gd name="connsiteY9" fmla="*/ 167640 h 556260"/>
                  <a:gd name="connsiteX10" fmla="*/ 53340 w 220980"/>
                  <a:gd name="connsiteY10" fmla="*/ 99060 h 556260"/>
                  <a:gd name="connsiteX11" fmla="*/ 38100 w 220980"/>
                  <a:gd name="connsiteY11" fmla="*/ 0 h 556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0980" h="556260">
                    <a:moveTo>
                      <a:pt x="38100" y="0"/>
                    </a:moveTo>
                    <a:lnTo>
                      <a:pt x="0" y="53340"/>
                    </a:lnTo>
                    <a:lnTo>
                      <a:pt x="0" y="167640"/>
                    </a:lnTo>
                    <a:lnTo>
                      <a:pt x="15240" y="281940"/>
                    </a:lnTo>
                    <a:lnTo>
                      <a:pt x="68580" y="556260"/>
                    </a:lnTo>
                    <a:lnTo>
                      <a:pt x="152400" y="373380"/>
                    </a:lnTo>
                    <a:lnTo>
                      <a:pt x="175260" y="304800"/>
                    </a:lnTo>
                    <a:lnTo>
                      <a:pt x="220980" y="281940"/>
                    </a:lnTo>
                    <a:lnTo>
                      <a:pt x="182880" y="251460"/>
                    </a:lnTo>
                    <a:lnTo>
                      <a:pt x="83820" y="167640"/>
                    </a:lnTo>
                    <a:lnTo>
                      <a:pt x="53340" y="99060"/>
                    </a:lnTo>
                    <a:lnTo>
                      <a:pt x="3810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Freeform 56"/>
              <p:cNvSpPr/>
              <p:nvPr/>
            </p:nvSpPr>
            <p:spPr>
              <a:xfrm>
                <a:off x="3559658" y="2464019"/>
                <a:ext cx="186771" cy="280157"/>
              </a:xfrm>
              <a:custGeom>
                <a:avLst/>
                <a:gdLst>
                  <a:gd name="connsiteX0" fmla="*/ 289560 w 304800"/>
                  <a:gd name="connsiteY0" fmla="*/ 0 h 457200"/>
                  <a:gd name="connsiteX1" fmla="*/ 236220 w 304800"/>
                  <a:gd name="connsiteY1" fmla="*/ 53340 h 457200"/>
                  <a:gd name="connsiteX2" fmla="*/ 152400 w 304800"/>
                  <a:gd name="connsiteY2" fmla="*/ 129540 h 457200"/>
                  <a:gd name="connsiteX3" fmla="*/ 91440 w 304800"/>
                  <a:gd name="connsiteY3" fmla="*/ 137160 h 457200"/>
                  <a:gd name="connsiteX4" fmla="*/ 0 w 304800"/>
                  <a:gd name="connsiteY4" fmla="*/ 213360 h 457200"/>
                  <a:gd name="connsiteX5" fmla="*/ 190500 w 304800"/>
                  <a:gd name="connsiteY5" fmla="*/ 457200 h 457200"/>
                  <a:gd name="connsiteX6" fmla="*/ 274320 w 304800"/>
                  <a:gd name="connsiteY6" fmla="*/ 251460 h 457200"/>
                  <a:gd name="connsiteX7" fmla="*/ 304800 w 304800"/>
                  <a:gd name="connsiteY7" fmla="*/ 137160 h 457200"/>
                  <a:gd name="connsiteX8" fmla="*/ 289560 w 304800"/>
                  <a:gd name="connsiteY8" fmla="*/ 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4800" h="457200">
                    <a:moveTo>
                      <a:pt x="289560" y="0"/>
                    </a:moveTo>
                    <a:lnTo>
                      <a:pt x="236220" y="53340"/>
                    </a:lnTo>
                    <a:lnTo>
                      <a:pt x="152400" y="129540"/>
                    </a:lnTo>
                    <a:lnTo>
                      <a:pt x="91440" y="137160"/>
                    </a:lnTo>
                    <a:lnTo>
                      <a:pt x="0" y="213360"/>
                    </a:lnTo>
                    <a:lnTo>
                      <a:pt x="190500" y="457200"/>
                    </a:lnTo>
                    <a:lnTo>
                      <a:pt x="274320" y="251460"/>
                    </a:lnTo>
                    <a:lnTo>
                      <a:pt x="304800" y="137160"/>
                    </a:lnTo>
                    <a:lnTo>
                      <a:pt x="28956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Freeform 57"/>
              <p:cNvSpPr/>
              <p:nvPr/>
            </p:nvSpPr>
            <p:spPr>
              <a:xfrm>
                <a:off x="3531643" y="2621091"/>
                <a:ext cx="457589" cy="1218681"/>
              </a:xfrm>
              <a:custGeom>
                <a:avLst/>
                <a:gdLst>
                  <a:gd name="connsiteX0" fmla="*/ 746760 w 746760"/>
                  <a:gd name="connsiteY0" fmla="*/ 1653540 h 1988820"/>
                  <a:gd name="connsiteX1" fmla="*/ 601980 w 746760"/>
                  <a:gd name="connsiteY1" fmla="*/ 1744980 h 1988820"/>
                  <a:gd name="connsiteX2" fmla="*/ 449580 w 746760"/>
                  <a:gd name="connsiteY2" fmla="*/ 1767840 h 1988820"/>
                  <a:gd name="connsiteX3" fmla="*/ 373380 w 746760"/>
                  <a:gd name="connsiteY3" fmla="*/ 1790700 h 1988820"/>
                  <a:gd name="connsiteX4" fmla="*/ 304800 w 746760"/>
                  <a:gd name="connsiteY4" fmla="*/ 1859280 h 1988820"/>
                  <a:gd name="connsiteX5" fmla="*/ 190500 w 746760"/>
                  <a:gd name="connsiteY5" fmla="*/ 1920240 h 1988820"/>
                  <a:gd name="connsiteX6" fmla="*/ 144780 w 746760"/>
                  <a:gd name="connsiteY6" fmla="*/ 1943100 h 1988820"/>
                  <a:gd name="connsiteX7" fmla="*/ 144780 w 746760"/>
                  <a:gd name="connsiteY7" fmla="*/ 1988820 h 1988820"/>
                  <a:gd name="connsiteX8" fmla="*/ 0 w 746760"/>
                  <a:gd name="connsiteY8" fmla="*/ 1965960 h 1988820"/>
                  <a:gd name="connsiteX9" fmla="*/ 144780 w 746760"/>
                  <a:gd name="connsiteY9" fmla="*/ 1874520 h 1988820"/>
                  <a:gd name="connsiteX10" fmla="*/ 160020 w 746760"/>
                  <a:gd name="connsiteY10" fmla="*/ 510540 h 1988820"/>
                  <a:gd name="connsiteX11" fmla="*/ 129540 w 746760"/>
                  <a:gd name="connsiteY11" fmla="*/ 281940 h 1988820"/>
                  <a:gd name="connsiteX12" fmla="*/ 68580 w 746760"/>
                  <a:gd name="connsiteY12" fmla="*/ 106680 h 1988820"/>
                  <a:gd name="connsiteX13" fmla="*/ 121920 w 746760"/>
                  <a:gd name="connsiteY13" fmla="*/ 45720 h 1988820"/>
                  <a:gd name="connsiteX14" fmla="*/ 243840 w 746760"/>
                  <a:gd name="connsiteY14" fmla="*/ 190500 h 1988820"/>
                  <a:gd name="connsiteX15" fmla="*/ 327660 w 746760"/>
                  <a:gd name="connsiteY15" fmla="*/ 0 h 1988820"/>
                  <a:gd name="connsiteX16" fmla="*/ 297180 w 746760"/>
                  <a:gd name="connsiteY16" fmla="*/ 762000 h 1988820"/>
                  <a:gd name="connsiteX17" fmla="*/ 350520 w 746760"/>
                  <a:gd name="connsiteY17" fmla="*/ 1089660 h 1988820"/>
                  <a:gd name="connsiteX18" fmla="*/ 457200 w 746760"/>
                  <a:gd name="connsiteY18" fmla="*/ 1295400 h 1988820"/>
                  <a:gd name="connsiteX19" fmla="*/ 647700 w 746760"/>
                  <a:gd name="connsiteY19" fmla="*/ 1470660 h 1988820"/>
                  <a:gd name="connsiteX20" fmla="*/ 662940 w 746760"/>
                  <a:gd name="connsiteY20" fmla="*/ 1562100 h 1988820"/>
                  <a:gd name="connsiteX21" fmla="*/ 746760 w 746760"/>
                  <a:gd name="connsiteY21" fmla="*/ 1653540 h 1988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46760" h="1988820">
                    <a:moveTo>
                      <a:pt x="746760" y="1653540"/>
                    </a:moveTo>
                    <a:lnTo>
                      <a:pt x="601980" y="1744980"/>
                    </a:lnTo>
                    <a:lnTo>
                      <a:pt x="449580" y="1767840"/>
                    </a:lnTo>
                    <a:lnTo>
                      <a:pt x="373380" y="1790700"/>
                    </a:lnTo>
                    <a:lnTo>
                      <a:pt x="304800" y="1859280"/>
                    </a:lnTo>
                    <a:lnTo>
                      <a:pt x="190500" y="1920240"/>
                    </a:lnTo>
                    <a:lnTo>
                      <a:pt x="144780" y="1943100"/>
                    </a:lnTo>
                    <a:lnTo>
                      <a:pt x="144780" y="1988820"/>
                    </a:lnTo>
                    <a:lnTo>
                      <a:pt x="0" y="1965960"/>
                    </a:lnTo>
                    <a:lnTo>
                      <a:pt x="144780" y="1874520"/>
                    </a:lnTo>
                    <a:lnTo>
                      <a:pt x="160020" y="510540"/>
                    </a:lnTo>
                    <a:lnTo>
                      <a:pt x="129540" y="281940"/>
                    </a:lnTo>
                    <a:lnTo>
                      <a:pt x="68580" y="106680"/>
                    </a:lnTo>
                    <a:lnTo>
                      <a:pt x="121920" y="45720"/>
                    </a:lnTo>
                    <a:lnTo>
                      <a:pt x="243840" y="190500"/>
                    </a:lnTo>
                    <a:lnTo>
                      <a:pt x="327660" y="0"/>
                    </a:lnTo>
                    <a:lnTo>
                      <a:pt x="297180" y="762000"/>
                    </a:lnTo>
                    <a:lnTo>
                      <a:pt x="350520" y="1089660"/>
                    </a:lnTo>
                    <a:lnTo>
                      <a:pt x="457200" y="1295400"/>
                    </a:lnTo>
                    <a:lnTo>
                      <a:pt x="647700" y="1470660"/>
                    </a:lnTo>
                    <a:lnTo>
                      <a:pt x="662940" y="1562100"/>
                    </a:lnTo>
                    <a:lnTo>
                      <a:pt x="746760" y="16535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Freeform 58"/>
              <p:cNvSpPr/>
              <p:nvPr/>
            </p:nvSpPr>
            <p:spPr>
              <a:xfrm>
                <a:off x="3195455" y="2532375"/>
                <a:ext cx="308172" cy="1326074"/>
              </a:xfrm>
              <a:custGeom>
                <a:avLst/>
                <a:gdLst>
                  <a:gd name="connsiteX0" fmla="*/ 449580 w 502920"/>
                  <a:gd name="connsiteY0" fmla="*/ 220980 h 2164080"/>
                  <a:gd name="connsiteX1" fmla="*/ 502920 w 502920"/>
                  <a:gd name="connsiteY1" fmla="*/ 266700 h 2164080"/>
                  <a:gd name="connsiteX2" fmla="*/ 388620 w 502920"/>
                  <a:gd name="connsiteY2" fmla="*/ 556260 h 2164080"/>
                  <a:gd name="connsiteX3" fmla="*/ 320040 w 502920"/>
                  <a:gd name="connsiteY3" fmla="*/ 960120 h 2164080"/>
                  <a:gd name="connsiteX4" fmla="*/ 259080 w 502920"/>
                  <a:gd name="connsiteY4" fmla="*/ 2042160 h 2164080"/>
                  <a:gd name="connsiteX5" fmla="*/ 373380 w 502920"/>
                  <a:gd name="connsiteY5" fmla="*/ 2164080 h 2164080"/>
                  <a:gd name="connsiteX6" fmla="*/ 190500 w 502920"/>
                  <a:gd name="connsiteY6" fmla="*/ 2164080 h 2164080"/>
                  <a:gd name="connsiteX7" fmla="*/ 30480 w 502920"/>
                  <a:gd name="connsiteY7" fmla="*/ 2019300 h 2164080"/>
                  <a:gd name="connsiteX8" fmla="*/ 30480 w 502920"/>
                  <a:gd name="connsiteY8" fmla="*/ 1851660 h 2164080"/>
                  <a:gd name="connsiteX9" fmla="*/ 0 w 502920"/>
                  <a:gd name="connsiteY9" fmla="*/ 1463040 h 2164080"/>
                  <a:gd name="connsiteX10" fmla="*/ 83820 w 502920"/>
                  <a:gd name="connsiteY10" fmla="*/ 1074420 h 2164080"/>
                  <a:gd name="connsiteX11" fmla="*/ 76200 w 502920"/>
                  <a:gd name="connsiteY11" fmla="*/ 830580 h 2164080"/>
                  <a:gd name="connsiteX12" fmla="*/ 152400 w 502920"/>
                  <a:gd name="connsiteY12" fmla="*/ 510540 h 2164080"/>
                  <a:gd name="connsiteX13" fmla="*/ 243840 w 502920"/>
                  <a:gd name="connsiteY13" fmla="*/ 190500 h 2164080"/>
                  <a:gd name="connsiteX14" fmla="*/ 312420 w 502920"/>
                  <a:gd name="connsiteY14" fmla="*/ 0 h 2164080"/>
                  <a:gd name="connsiteX15" fmla="*/ 365760 w 502920"/>
                  <a:gd name="connsiteY15" fmla="*/ 358140 h 2164080"/>
                  <a:gd name="connsiteX16" fmla="*/ 381000 w 502920"/>
                  <a:gd name="connsiteY16" fmla="*/ 411480 h 2164080"/>
                  <a:gd name="connsiteX17" fmla="*/ 449580 w 502920"/>
                  <a:gd name="connsiteY17" fmla="*/ 220980 h 2164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02920" h="2164080">
                    <a:moveTo>
                      <a:pt x="449580" y="220980"/>
                    </a:moveTo>
                    <a:lnTo>
                      <a:pt x="502920" y="266700"/>
                    </a:lnTo>
                    <a:lnTo>
                      <a:pt x="388620" y="556260"/>
                    </a:lnTo>
                    <a:lnTo>
                      <a:pt x="320040" y="960120"/>
                    </a:lnTo>
                    <a:lnTo>
                      <a:pt x="259080" y="2042160"/>
                    </a:lnTo>
                    <a:lnTo>
                      <a:pt x="373380" y="2164080"/>
                    </a:lnTo>
                    <a:lnTo>
                      <a:pt x="190500" y="2164080"/>
                    </a:lnTo>
                    <a:lnTo>
                      <a:pt x="30480" y="2019300"/>
                    </a:lnTo>
                    <a:lnTo>
                      <a:pt x="30480" y="1851660"/>
                    </a:lnTo>
                    <a:lnTo>
                      <a:pt x="0" y="1463040"/>
                    </a:lnTo>
                    <a:lnTo>
                      <a:pt x="83820" y="1074420"/>
                    </a:lnTo>
                    <a:lnTo>
                      <a:pt x="76200" y="830580"/>
                    </a:lnTo>
                    <a:lnTo>
                      <a:pt x="152400" y="510540"/>
                    </a:lnTo>
                    <a:lnTo>
                      <a:pt x="243840" y="190500"/>
                    </a:lnTo>
                    <a:lnTo>
                      <a:pt x="312420" y="0"/>
                    </a:lnTo>
                    <a:lnTo>
                      <a:pt x="365760" y="358140"/>
                    </a:lnTo>
                    <a:lnTo>
                      <a:pt x="381000" y="411480"/>
                    </a:lnTo>
                    <a:lnTo>
                      <a:pt x="449580" y="22098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Freeform 59"/>
              <p:cNvSpPr/>
              <p:nvPr/>
            </p:nvSpPr>
            <p:spPr>
              <a:xfrm>
                <a:off x="3989232" y="3741717"/>
                <a:ext cx="191440" cy="196110"/>
              </a:xfrm>
              <a:custGeom>
                <a:avLst/>
                <a:gdLst>
                  <a:gd name="connsiteX0" fmla="*/ 312420 w 312420"/>
                  <a:gd name="connsiteY0" fmla="*/ 297180 h 320040"/>
                  <a:gd name="connsiteX1" fmla="*/ 312420 w 312420"/>
                  <a:gd name="connsiteY1" fmla="*/ 297180 h 320040"/>
                  <a:gd name="connsiteX2" fmla="*/ 243840 w 312420"/>
                  <a:gd name="connsiteY2" fmla="*/ 304800 h 320040"/>
                  <a:gd name="connsiteX3" fmla="*/ 220980 w 312420"/>
                  <a:gd name="connsiteY3" fmla="*/ 320040 h 320040"/>
                  <a:gd name="connsiteX4" fmla="*/ 0 w 312420"/>
                  <a:gd name="connsiteY4" fmla="*/ 0 h 320040"/>
                  <a:gd name="connsiteX5" fmla="*/ 76200 w 312420"/>
                  <a:gd name="connsiteY5" fmla="*/ 22860 h 320040"/>
                  <a:gd name="connsiteX6" fmla="*/ 312420 w 312420"/>
                  <a:gd name="connsiteY6" fmla="*/ 297180 h 320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2420" h="320040">
                    <a:moveTo>
                      <a:pt x="312420" y="297180"/>
                    </a:moveTo>
                    <a:lnTo>
                      <a:pt x="312420" y="297180"/>
                    </a:lnTo>
                    <a:cubicBezTo>
                      <a:pt x="289560" y="299720"/>
                      <a:pt x="266154" y="299222"/>
                      <a:pt x="243840" y="304800"/>
                    </a:cubicBezTo>
                    <a:cubicBezTo>
                      <a:pt x="234955" y="307021"/>
                      <a:pt x="220980" y="320040"/>
                      <a:pt x="220980" y="320040"/>
                    </a:cubicBezTo>
                    <a:lnTo>
                      <a:pt x="0" y="0"/>
                    </a:lnTo>
                    <a:lnTo>
                      <a:pt x="76200" y="22860"/>
                    </a:lnTo>
                    <a:lnTo>
                      <a:pt x="312420" y="29718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1" name="Freeform 60"/>
              <p:cNvSpPr/>
              <p:nvPr/>
            </p:nvSpPr>
            <p:spPr>
              <a:xfrm>
                <a:off x="4295060" y="3158058"/>
                <a:ext cx="88734" cy="200779"/>
              </a:xfrm>
              <a:custGeom>
                <a:avLst/>
                <a:gdLst>
                  <a:gd name="connsiteX0" fmla="*/ 7649 w 144809"/>
                  <a:gd name="connsiteY0" fmla="*/ 0 h 327660"/>
                  <a:gd name="connsiteX1" fmla="*/ 7649 w 144809"/>
                  <a:gd name="connsiteY1" fmla="*/ 0 h 327660"/>
                  <a:gd name="connsiteX2" fmla="*/ 29 w 144809"/>
                  <a:gd name="connsiteY2" fmla="*/ 251460 h 327660"/>
                  <a:gd name="connsiteX3" fmla="*/ 7649 w 144809"/>
                  <a:gd name="connsiteY3" fmla="*/ 320040 h 327660"/>
                  <a:gd name="connsiteX4" fmla="*/ 30509 w 144809"/>
                  <a:gd name="connsiteY4" fmla="*/ 327660 h 327660"/>
                  <a:gd name="connsiteX5" fmla="*/ 144809 w 144809"/>
                  <a:gd name="connsiteY5" fmla="*/ 91440 h 327660"/>
                  <a:gd name="connsiteX6" fmla="*/ 7649 w 144809"/>
                  <a:gd name="connsiteY6" fmla="*/ 0 h 327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4809" h="327660">
                    <a:moveTo>
                      <a:pt x="7649" y="0"/>
                    </a:moveTo>
                    <a:lnTo>
                      <a:pt x="7649" y="0"/>
                    </a:lnTo>
                    <a:cubicBezTo>
                      <a:pt x="5109" y="83820"/>
                      <a:pt x="29" y="167602"/>
                      <a:pt x="29" y="251460"/>
                    </a:cubicBezTo>
                    <a:cubicBezTo>
                      <a:pt x="29" y="274461"/>
                      <a:pt x="-893" y="298684"/>
                      <a:pt x="7649" y="320040"/>
                    </a:cubicBezTo>
                    <a:cubicBezTo>
                      <a:pt x="10632" y="327498"/>
                      <a:pt x="30509" y="327660"/>
                      <a:pt x="30509" y="327660"/>
                    </a:cubicBezTo>
                    <a:lnTo>
                      <a:pt x="144809" y="91440"/>
                    </a:lnTo>
                    <a:lnTo>
                      <a:pt x="7649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Freeform 64"/>
              <p:cNvSpPr/>
              <p:nvPr/>
            </p:nvSpPr>
            <p:spPr>
              <a:xfrm>
                <a:off x="2973664" y="3263769"/>
                <a:ext cx="60701" cy="224125"/>
              </a:xfrm>
              <a:custGeom>
                <a:avLst/>
                <a:gdLst>
                  <a:gd name="connsiteX0" fmla="*/ 83820 w 99060"/>
                  <a:gd name="connsiteY0" fmla="*/ 0 h 365760"/>
                  <a:gd name="connsiteX1" fmla="*/ 99060 w 99060"/>
                  <a:gd name="connsiteY1" fmla="*/ 365760 h 365760"/>
                  <a:gd name="connsiteX2" fmla="*/ 0 w 99060"/>
                  <a:gd name="connsiteY2" fmla="*/ 220980 h 365760"/>
                  <a:gd name="connsiteX3" fmla="*/ 38100 w 99060"/>
                  <a:gd name="connsiteY3" fmla="*/ 144780 h 365760"/>
                  <a:gd name="connsiteX4" fmla="*/ 83820 w 99060"/>
                  <a:gd name="connsiteY4" fmla="*/ 0 h 365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060" h="365760">
                    <a:moveTo>
                      <a:pt x="83820" y="0"/>
                    </a:moveTo>
                    <a:lnTo>
                      <a:pt x="99060" y="365760"/>
                    </a:lnTo>
                    <a:lnTo>
                      <a:pt x="0" y="220980"/>
                    </a:lnTo>
                    <a:lnTo>
                      <a:pt x="38100" y="144780"/>
                    </a:lnTo>
                    <a:lnTo>
                      <a:pt x="8382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Freeform 66"/>
              <p:cNvSpPr/>
              <p:nvPr/>
            </p:nvSpPr>
            <p:spPr>
              <a:xfrm>
                <a:off x="2973664" y="3685686"/>
                <a:ext cx="182102" cy="172763"/>
              </a:xfrm>
              <a:custGeom>
                <a:avLst/>
                <a:gdLst>
                  <a:gd name="connsiteX0" fmla="*/ 297180 w 297180"/>
                  <a:gd name="connsiteY0" fmla="*/ 0 h 281940"/>
                  <a:gd name="connsiteX1" fmla="*/ 152400 w 297180"/>
                  <a:gd name="connsiteY1" fmla="*/ 68580 h 281940"/>
                  <a:gd name="connsiteX2" fmla="*/ 68580 w 297180"/>
                  <a:gd name="connsiteY2" fmla="*/ 198120 h 281940"/>
                  <a:gd name="connsiteX3" fmla="*/ 45720 w 297180"/>
                  <a:gd name="connsiteY3" fmla="*/ 281940 h 281940"/>
                  <a:gd name="connsiteX4" fmla="*/ 0 w 297180"/>
                  <a:gd name="connsiteY4" fmla="*/ 167640 h 281940"/>
                  <a:gd name="connsiteX5" fmla="*/ 297180 w 297180"/>
                  <a:gd name="connsiteY5" fmla="*/ 0 h 281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7180" h="281940">
                    <a:moveTo>
                      <a:pt x="297180" y="0"/>
                    </a:moveTo>
                    <a:lnTo>
                      <a:pt x="152400" y="68580"/>
                    </a:lnTo>
                    <a:lnTo>
                      <a:pt x="68580" y="198120"/>
                    </a:lnTo>
                    <a:lnTo>
                      <a:pt x="45720" y="281940"/>
                    </a:lnTo>
                    <a:lnTo>
                      <a:pt x="0" y="167640"/>
                    </a:lnTo>
                    <a:lnTo>
                      <a:pt x="29718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8" name="Group 67"/>
            <p:cNvGrpSpPr>
              <a:grpSpLocks noChangeAspect="1"/>
            </p:cNvGrpSpPr>
            <p:nvPr/>
          </p:nvGrpSpPr>
          <p:grpSpPr>
            <a:xfrm>
              <a:off x="3674232" y="3666694"/>
              <a:ext cx="336945" cy="903621"/>
              <a:chOff x="11215957" y="49011"/>
              <a:chExt cx="2235200" cy="5994400"/>
            </a:xfrm>
          </p:grpSpPr>
          <p:sp>
            <p:nvSpPr>
              <p:cNvPr id="69" name="Freeform 68"/>
              <p:cNvSpPr/>
              <p:nvPr/>
            </p:nvSpPr>
            <p:spPr>
              <a:xfrm>
                <a:off x="11215957" y="49011"/>
                <a:ext cx="2235200" cy="5994400"/>
              </a:xfrm>
              <a:custGeom>
                <a:avLst/>
                <a:gdLst>
                  <a:gd name="connsiteX0" fmla="*/ 2120900 w 2235200"/>
                  <a:gd name="connsiteY0" fmla="*/ 5994400 h 5994400"/>
                  <a:gd name="connsiteX1" fmla="*/ 1955800 w 2235200"/>
                  <a:gd name="connsiteY1" fmla="*/ 5981700 h 5994400"/>
                  <a:gd name="connsiteX2" fmla="*/ 1701800 w 2235200"/>
                  <a:gd name="connsiteY2" fmla="*/ 5791200 h 5994400"/>
                  <a:gd name="connsiteX3" fmla="*/ 1638300 w 2235200"/>
                  <a:gd name="connsiteY3" fmla="*/ 5778500 h 5994400"/>
                  <a:gd name="connsiteX4" fmla="*/ 1511300 w 2235200"/>
                  <a:gd name="connsiteY4" fmla="*/ 5689600 h 5994400"/>
                  <a:gd name="connsiteX5" fmla="*/ 1473200 w 2235200"/>
                  <a:gd name="connsiteY5" fmla="*/ 5626100 h 5994400"/>
                  <a:gd name="connsiteX6" fmla="*/ 1473200 w 2235200"/>
                  <a:gd name="connsiteY6" fmla="*/ 5511800 h 5994400"/>
                  <a:gd name="connsiteX7" fmla="*/ 1435100 w 2235200"/>
                  <a:gd name="connsiteY7" fmla="*/ 5384800 h 5994400"/>
                  <a:gd name="connsiteX8" fmla="*/ 1435100 w 2235200"/>
                  <a:gd name="connsiteY8" fmla="*/ 5232400 h 5994400"/>
                  <a:gd name="connsiteX9" fmla="*/ 1308100 w 2235200"/>
                  <a:gd name="connsiteY9" fmla="*/ 4813300 h 5994400"/>
                  <a:gd name="connsiteX10" fmla="*/ 1320800 w 2235200"/>
                  <a:gd name="connsiteY10" fmla="*/ 4546600 h 5994400"/>
                  <a:gd name="connsiteX11" fmla="*/ 1092200 w 2235200"/>
                  <a:gd name="connsiteY11" fmla="*/ 3683000 h 5994400"/>
                  <a:gd name="connsiteX12" fmla="*/ 1003300 w 2235200"/>
                  <a:gd name="connsiteY12" fmla="*/ 3860800 h 5994400"/>
                  <a:gd name="connsiteX13" fmla="*/ 990600 w 2235200"/>
                  <a:gd name="connsiteY13" fmla="*/ 4051300 h 5994400"/>
                  <a:gd name="connsiteX14" fmla="*/ 838200 w 2235200"/>
                  <a:gd name="connsiteY14" fmla="*/ 4660900 h 5994400"/>
                  <a:gd name="connsiteX15" fmla="*/ 787400 w 2235200"/>
                  <a:gd name="connsiteY15" fmla="*/ 5473700 h 5994400"/>
                  <a:gd name="connsiteX16" fmla="*/ 711200 w 2235200"/>
                  <a:gd name="connsiteY16" fmla="*/ 5511800 h 5994400"/>
                  <a:gd name="connsiteX17" fmla="*/ 736600 w 2235200"/>
                  <a:gd name="connsiteY17" fmla="*/ 5638800 h 5994400"/>
                  <a:gd name="connsiteX18" fmla="*/ 571500 w 2235200"/>
                  <a:gd name="connsiteY18" fmla="*/ 5778500 h 5994400"/>
                  <a:gd name="connsiteX19" fmla="*/ 571500 w 2235200"/>
                  <a:gd name="connsiteY19" fmla="*/ 5778500 h 5994400"/>
                  <a:gd name="connsiteX20" fmla="*/ 457200 w 2235200"/>
                  <a:gd name="connsiteY20" fmla="*/ 5816600 h 5994400"/>
                  <a:gd name="connsiteX21" fmla="*/ 241300 w 2235200"/>
                  <a:gd name="connsiteY21" fmla="*/ 5969000 h 5994400"/>
                  <a:gd name="connsiteX22" fmla="*/ 50800 w 2235200"/>
                  <a:gd name="connsiteY22" fmla="*/ 5956300 h 5994400"/>
                  <a:gd name="connsiteX23" fmla="*/ 0 w 2235200"/>
                  <a:gd name="connsiteY23" fmla="*/ 5842000 h 5994400"/>
                  <a:gd name="connsiteX24" fmla="*/ 63500 w 2235200"/>
                  <a:gd name="connsiteY24" fmla="*/ 5740400 h 5994400"/>
                  <a:gd name="connsiteX25" fmla="*/ 139700 w 2235200"/>
                  <a:gd name="connsiteY25" fmla="*/ 5613400 h 5994400"/>
                  <a:gd name="connsiteX26" fmla="*/ 254000 w 2235200"/>
                  <a:gd name="connsiteY26" fmla="*/ 5461000 h 5994400"/>
                  <a:gd name="connsiteX27" fmla="*/ 254000 w 2235200"/>
                  <a:gd name="connsiteY27" fmla="*/ 5321300 h 5994400"/>
                  <a:gd name="connsiteX28" fmla="*/ 330200 w 2235200"/>
                  <a:gd name="connsiteY28" fmla="*/ 5143500 h 5994400"/>
                  <a:gd name="connsiteX29" fmla="*/ 330200 w 2235200"/>
                  <a:gd name="connsiteY29" fmla="*/ 4584700 h 5994400"/>
                  <a:gd name="connsiteX30" fmla="*/ 381000 w 2235200"/>
                  <a:gd name="connsiteY30" fmla="*/ 4394200 h 5994400"/>
                  <a:gd name="connsiteX31" fmla="*/ 342900 w 2235200"/>
                  <a:gd name="connsiteY31" fmla="*/ 3492500 h 5994400"/>
                  <a:gd name="connsiteX32" fmla="*/ 203200 w 2235200"/>
                  <a:gd name="connsiteY32" fmla="*/ 3416300 h 5994400"/>
                  <a:gd name="connsiteX33" fmla="*/ 304800 w 2235200"/>
                  <a:gd name="connsiteY33" fmla="*/ 2578100 h 5994400"/>
                  <a:gd name="connsiteX34" fmla="*/ 50800 w 2235200"/>
                  <a:gd name="connsiteY34" fmla="*/ 2235200 h 5994400"/>
                  <a:gd name="connsiteX35" fmla="*/ 76200 w 2235200"/>
                  <a:gd name="connsiteY35" fmla="*/ 1892300 h 5994400"/>
                  <a:gd name="connsiteX36" fmla="*/ 241300 w 2235200"/>
                  <a:gd name="connsiteY36" fmla="*/ 1079500 h 5994400"/>
                  <a:gd name="connsiteX37" fmla="*/ 800100 w 2235200"/>
                  <a:gd name="connsiteY37" fmla="*/ 889000 h 5994400"/>
                  <a:gd name="connsiteX38" fmla="*/ 850900 w 2235200"/>
                  <a:gd name="connsiteY38" fmla="*/ 825500 h 5994400"/>
                  <a:gd name="connsiteX39" fmla="*/ 825500 w 2235200"/>
                  <a:gd name="connsiteY39" fmla="*/ 673100 h 5994400"/>
                  <a:gd name="connsiteX40" fmla="*/ 787400 w 2235200"/>
                  <a:gd name="connsiteY40" fmla="*/ 609600 h 5994400"/>
                  <a:gd name="connsiteX41" fmla="*/ 736600 w 2235200"/>
                  <a:gd name="connsiteY41" fmla="*/ 558800 h 5994400"/>
                  <a:gd name="connsiteX42" fmla="*/ 774700 w 2235200"/>
                  <a:gd name="connsiteY42" fmla="*/ 381000 h 5994400"/>
                  <a:gd name="connsiteX43" fmla="*/ 800100 w 2235200"/>
                  <a:gd name="connsiteY43" fmla="*/ 342900 h 5994400"/>
                  <a:gd name="connsiteX44" fmla="*/ 825500 w 2235200"/>
                  <a:gd name="connsiteY44" fmla="*/ 139700 h 5994400"/>
                  <a:gd name="connsiteX45" fmla="*/ 939800 w 2235200"/>
                  <a:gd name="connsiteY45" fmla="*/ 0 h 5994400"/>
                  <a:gd name="connsiteX46" fmla="*/ 1206500 w 2235200"/>
                  <a:gd name="connsiteY46" fmla="*/ 25400 h 5994400"/>
                  <a:gd name="connsiteX47" fmla="*/ 1333500 w 2235200"/>
                  <a:gd name="connsiteY47" fmla="*/ 101600 h 5994400"/>
                  <a:gd name="connsiteX48" fmla="*/ 1409700 w 2235200"/>
                  <a:gd name="connsiteY48" fmla="*/ 241300 h 5994400"/>
                  <a:gd name="connsiteX49" fmla="*/ 1447800 w 2235200"/>
                  <a:gd name="connsiteY49" fmla="*/ 533400 h 5994400"/>
                  <a:gd name="connsiteX50" fmla="*/ 1447800 w 2235200"/>
                  <a:gd name="connsiteY50" fmla="*/ 584200 h 5994400"/>
                  <a:gd name="connsiteX51" fmla="*/ 1358900 w 2235200"/>
                  <a:gd name="connsiteY51" fmla="*/ 685800 h 5994400"/>
                  <a:gd name="connsiteX52" fmla="*/ 1295400 w 2235200"/>
                  <a:gd name="connsiteY52" fmla="*/ 838200 h 5994400"/>
                  <a:gd name="connsiteX53" fmla="*/ 1384300 w 2235200"/>
                  <a:gd name="connsiteY53" fmla="*/ 889000 h 5994400"/>
                  <a:gd name="connsiteX54" fmla="*/ 1879600 w 2235200"/>
                  <a:gd name="connsiteY54" fmla="*/ 1041400 h 5994400"/>
                  <a:gd name="connsiteX55" fmla="*/ 1943100 w 2235200"/>
                  <a:gd name="connsiteY55" fmla="*/ 1130300 h 5994400"/>
                  <a:gd name="connsiteX56" fmla="*/ 2070100 w 2235200"/>
                  <a:gd name="connsiteY56" fmla="*/ 2133600 h 5994400"/>
                  <a:gd name="connsiteX57" fmla="*/ 1828800 w 2235200"/>
                  <a:gd name="connsiteY57" fmla="*/ 2514600 h 5994400"/>
                  <a:gd name="connsiteX58" fmla="*/ 1943100 w 2235200"/>
                  <a:gd name="connsiteY58" fmla="*/ 3048000 h 5994400"/>
                  <a:gd name="connsiteX59" fmla="*/ 2006600 w 2235200"/>
                  <a:gd name="connsiteY59" fmla="*/ 3251200 h 5994400"/>
                  <a:gd name="connsiteX60" fmla="*/ 2095500 w 2235200"/>
                  <a:gd name="connsiteY60" fmla="*/ 3340100 h 5994400"/>
                  <a:gd name="connsiteX61" fmla="*/ 1841500 w 2235200"/>
                  <a:gd name="connsiteY61" fmla="*/ 3492500 h 5994400"/>
                  <a:gd name="connsiteX62" fmla="*/ 1879600 w 2235200"/>
                  <a:gd name="connsiteY62" fmla="*/ 4025900 h 5994400"/>
                  <a:gd name="connsiteX63" fmla="*/ 1841500 w 2235200"/>
                  <a:gd name="connsiteY63" fmla="*/ 4483100 h 5994400"/>
                  <a:gd name="connsiteX64" fmla="*/ 1930400 w 2235200"/>
                  <a:gd name="connsiteY64" fmla="*/ 5321300 h 5994400"/>
                  <a:gd name="connsiteX65" fmla="*/ 2019300 w 2235200"/>
                  <a:gd name="connsiteY65" fmla="*/ 5562600 h 5994400"/>
                  <a:gd name="connsiteX66" fmla="*/ 2209800 w 2235200"/>
                  <a:gd name="connsiteY66" fmla="*/ 5842000 h 5994400"/>
                  <a:gd name="connsiteX67" fmla="*/ 2235200 w 2235200"/>
                  <a:gd name="connsiteY67" fmla="*/ 5930900 h 5994400"/>
                  <a:gd name="connsiteX68" fmla="*/ 2120900 w 2235200"/>
                  <a:gd name="connsiteY68" fmla="*/ 5994400 h 599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2235200" h="5994400">
                    <a:moveTo>
                      <a:pt x="2120900" y="5994400"/>
                    </a:moveTo>
                    <a:lnTo>
                      <a:pt x="1955800" y="5981700"/>
                    </a:lnTo>
                    <a:lnTo>
                      <a:pt x="1701800" y="5791200"/>
                    </a:lnTo>
                    <a:lnTo>
                      <a:pt x="1638300" y="5778500"/>
                    </a:lnTo>
                    <a:lnTo>
                      <a:pt x="1511300" y="5689600"/>
                    </a:lnTo>
                    <a:lnTo>
                      <a:pt x="1473200" y="5626100"/>
                    </a:lnTo>
                    <a:lnTo>
                      <a:pt x="1473200" y="5511800"/>
                    </a:lnTo>
                    <a:lnTo>
                      <a:pt x="1435100" y="5384800"/>
                    </a:lnTo>
                    <a:lnTo>
                      <a:pt x="1435100" y="5232400"/>
                    </a:lnTo>
                    <a:lnTo>
                      <a:pt x="1308100" y="4813300"/>
                    </a:lnTo>
                    <a:lnTo>
                      <a:pt x="1320800" y="4546600"/>
                    </a:lnTo>
                    <a:lnTo>
                      <a:pt x="1092200" y="3683000"/>
                    </a:lnTo>
                    <a:lnTo>
                      <a:pt x="1003300" y="3860800"/>
                    </a:lnTo>
                    <a:lnTo>
                      <a:pt x="990600" y="4051300"/>
                    </a:lnTo>
                    <a:lnTo>
                      <a:pt x="838200" y="4660900"/>
                    </a:lnTo>
                    <a:lnTo>
                      <a:pt x="787400" y="5473700"/>
                    </a:lnTo>
                    <a:lnTo>
                      <a:pt x="711200" y="5511800"/>
                    </a:lnTo>
                    <a:lnTo>
                      <a:pt x="736600" y="5638800"/>
                    </a:lnTo>
                    <a:lnTo>
                      <a:pt x="571500" y="5778500"/>
                    </a:lnTo>
                    <a:lnTo>
                      <a:pt x="571500" y="5778500"/>
                    </a:lnTo>
                    <a:lnTo>
                      <a:pt x="457200" y="5816600"/>
                    </a:lnTo>
                    <a:lnTo>
                      <a:pt x="241300" y="5969000"/>
                    </a:lnTo>
                    <a:lnTo>
                      <a:pt x="50800" y="5956300"/>
                    </a:lnTo>
                    <a:lnTo>
                      <a:pt x="0" y="5842000"/>
                    </a:lnTo>
                    <a:lnTo>
                      <a:pt x="63500" y="5740400"/>
                    </a:lnTo>
                    <a:lnTo>
                      <a:pt x="139700" y="5613400"/>
                    </a:lnTo>
                    <a:lnTo>
                      <a:pt x="254000" y="5461000"/>
                    </a:lnTo>
                    <a:lnTo>
                      <a:pt x="254000" y="5321300"/>
                    </a:lnTo>
                    <a:lnTo>
                      <a:pt x="330200" y="5143500"/>
                    </a:lnTo>
                    <a:lnTo>
                      <a:pt x="330200" y="4584700"/>
                    </a:lnTo>
                    <a:lnTo>
                      <a:pt x="381000" y="4394200"/>
                    </a:lnTo>
                    <a:lnTo>
                      <a:pt x="342900" y="3492500"/>
                    </a:lnTo>
                    <a:lnTo>
                      <a:pt x="203200" y="3416300"/>
                    </a:lnTo>
                    <a:lnTo>
                      <a:pt x="304800" y="2578100"/>
                    </a:lnTo>
                    <a:lnTo>
                      <a:pt x="50800" y="2235200"/>
                    </a:lnTo>
                    <a:lnTo>
                      <a:pt x="76200" y="1892300"/>
                    </a:lnTo>
                    <a:lnTo>
                      <a:pt x="241300" y="1079500"/>
                    </a:lnTo>
                    <a:lnTo>
                      <a:pt x="800100" y="889000"/>
                    </a:lnTo>
                    <a:lnTo>
                      <a:pt x="850900" y="825500"/>
                    </a:lnTo>
                    <a:lnTo>
                      <a:pt x="825500" y="673100"/>
                    </a:lnTo>
                    <a:lnTo>
                      <a:pt x="787400" y="609600"/>
                    </a:lnTo>
                    <a:lnTo>
                      <a:pt x="736600" y="558800"/>
                    </a:lnTo>
                    <a:lnTo>
                      <a:pt x="774700" y="381000"/>
                    </a:lnTo>
                    <a:lnTo>
                      <a:pt x="800100" y="342900"/>
                    </a:lnTo>
                    <a:lnTo>
                      <a:pt x="825500" y="139700"/>
                    </a:lnTo>
                    <a:lnTo>
                      <a:pt x="939800" y="0"/>
                    </a:lnTo>
                    <a:lnTo>
                      <a:pt x="1206500" y="25400"/>
                    </a:lnTo>
                    <a:lnTo>
                      <a:pt x="1333500" y="101600"/>
                    </a:lnTo>
                    <a:lnTo>
                      <a:pt x="1409700" y="241300"/>
                    </a:lnTo>
                    <a:lnTo>
                      <a:pt x="1447800" y="533400"/>
                    </a:lnTo>
                    <a:lnTo>
                      <a:pt x="1447800" y="584200"/>
                    </a:lnTo>
                    <a:lnTo>
                      <a:pt x="1358900" y="685800"/>
                    </a:lnTo>
                    <a:lnTo>
                      <a:pt x="1295400" y="838200"/>
                    </a:lnTo>
                    <a:lnTo>
                      <a:pt x="1384300" y="889000"/>
                    </a:lnTo>
                    <a:lnTo>
                      <a:pt x="1879600" y="1041400"/>
                    </a:lnTo>
                    <a:lnTo>
                      <a:pt x="1943100" y="1130300"/>
                    </a:lnTo>
                    <a:lnTo>
                      <a:pt x="2070100" y="2133600"/>
                    </a:lnTo>
                    <a:lnTo>
                      <a:pt x="1828800" y="2514600"/>
                    </a:lnTo>
                    <a:lnTo>
                      <a:pt x="1943100" y="3048000"/>
                    </a:lnTo>
                    <a:lnTo>
                      <a:pt x="2006600" y="3251200"/>
                    </a:lnTo>
                    <a:lnTo>
                      <a:pt x="2095500" y="3340100"/>
                    </a:lnTo>
                    <a:lnTo>
                      <a:pt x="1841500" y="3492500"/>
                    </a:lnTo>
                    <a:lnTo>
                      <a:pt x="1879600" y="4025900"/>
                    </a:lnTo>
                    <a:lnTo>
                      <a:pt x="1841500" y="4483100"/>
                    </a:lnTo>
                    <a:lnTo>
                      <a:pt x="1930400" y="5321300"/>
                    </a:lnTo>
                    <a:lnTo>
                      <a:pt x="2019300" y="5562600"/>
                    </a:lnTo>
                    <a:lnTo>
                      <a:pt x="2209800" y="5842000"/>
                    </a:lnTo>
                    <a:lnTo>
                      <a:pt x="2235200" y="5930900"/>
                    </a:lnTo>
                    <a:lnTo>
                      <a:pt x="2120900" y="599440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70" name="Group 69"/>
              <p:cNvGrpSpPr/>
              <p:nvPr/>
            </p:nvGrpSpPr>
            <p:grpSpPr>
              <a:xfrm>
                <a:off x="11838722" y="872267"/>
                <a:ext cx="940088" cy="2199344"/>
                <a:chOff x="11838722" y="872267"/>
                <a:chExt cx="940088" cy="2199344"/>
              </a:xfrm>
            </p:grpSpPr>
            <p:sp>
              <p:nvSpPr>
                <p:cNvPr id="71" name="Freeform 70"/>
                <p:cNvSpPr/>
                <p:nvPr/>
              </p:nvSpPr>
              <p:spPr>
                <a:xfrm>
                  <a:off x="12059919" y="872267"/>
                  <a:ext cx="160368" cy="524441"/>
                </a:xfrm>
                <a:custGeom>
                  <a:avLst/>
                  <a:gdLst>
                    <a:gd name="connsiteX0" fmla="*/ 38100 w 220980"/>
                    <a:gd name="connsiteY0" fmla="*/ 0 h 556260"/>
                    <a:gd name="connsiteX1" fmla="*/ 0 w 220980"/>
                    <a:gd name="connsiteY1" fmla="*/ 53340 h 556260"/>
                    <a:gd name="connsiteX2" fmla="*/ 0 w 220980"/>
                    <a:gd name="connsiteY2" fmla="*/ 167640 h 556260"/>
                    <a:gd name="connsiteX3" fmla="*/ 15240 w 220980"/>
                    <a:gd name="connsiteY3" fmla="*/ 281940 h 556260"/>
                    <a:gd name="connsiteX4" fmla="*/ 68580 w 220980"/>
                    <a:gd name="connsiteY4" fmla="*/ 556260 h 556260"/>
                    <a:gd name="connsiteX5" fmla="*/ 152400 w 220980"/>
                    <a:gd name="connsiteY5" fmla="*/ 373380 h 556260"/>
                    <a:gd name="connsiteX6" fmla="*/ 175260 w 220980"/>
                    <a:gd name="connsiteY6" fmla="*/ 304800 h 556260"/>
                    <a:gd name="connsiteX7" fmla="*/ 220980 w 220980"/>
                    <a:gd name="connsiteY7" fmla="*/ 281940 h 556260"/>
                    <a:gd name="connsiteX8" fmla="*/ 182880 w 220980"/>
                    <a:gd name="connsiteY8" fmla="*/ 251460 h 556260"/>
                    <a:gd name="connsiteX9" fmla="*/ 83820 w 220980"/>
                    <a:gd name="connsiteY9" fmla="*/ 167640 h 556260"/>
                    <a:gd name="connsiteX10" fmla="*/ 53340 w 220980"/>
                    <a:gd name="connsiteY10" fmla="*/ 99060 h 556260"/>
                    <a:gd name="connsiteX11" fmla="*/ 38100 w 220980"/>
                    <a:gd name="connsiteY11" fmla="*/ 0 h 5562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20980" h="556260">
                      <a:moveTo>
                        <a:pt x="38100" y="0"/>
                      </a:moveTo>
                      <a:lnTo>
                        <a:pt x="0" y="53340"/>
                      </a:lnTo>
                      <a:lnTo>
                        <a:pt x="0" y="167640"/>
                      </a:lnTo>
                      <a:lnTo>
                        <a:pt x="15240" y="281940"/>
                      </a:lnTo>
                      <a:lnTo>
                        <a:pt x="68580" y="556260"/>
                      </a:lnTo>
                      <a:lnTo>
                        <a:pt x="152400" y="373380"/>
                      </a:lnTo>
                      <a:lnTo>
                        <a:pt x="175260" y="304800"/>
                      </a:lnTo>
                      <a:lnTo>
                        <a:pt x="220980" y="281940"/>
                      </a:lnTo>
                      <a:lnTo>
                        <a:pt x="182880" y="251460"/>
                      </a:lnTo>
                      <a:lnTo>
                        <a:pt x="83820" y="167640"/>
                      </a:lnTo>
                      <a:lnTo>
                        <a:pt x="53340" y="99060"/>
                      </a:lnTo>
                      <a:lnTo>
                        <a:pt x="3810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2" name="Freeform 71"/>
                <p:cNvSpPr/>
                <p:nvPr/>
              </p:nvSpPr>
              <p:spPr>
                <a:xfrm>
                  <a:off x="12270057" y="926148"/>
                  <a:ext cx="221197" cy="431047"/>
                </a:xfrm>
                <a:custGeom>
                  <a:avLst/>
                  <a:gdLst>
                    <a:gd name="connsiteX0" fmla="*/ 289560 w 304800"/>
                    <a:gd name="connsiteY0" fmla="*/ 0 h 457200"/>
                    <a:gd name="connsiteX1" fmla="*/ 236220 w 304800"/>
                    <a:gd name="connsiteY1" fmla="*/ 53340 h 457200"/>
                    <a:gd name="connsiteX2" fmla="*/ 152400 w 304800"/>
                    <a:gd name="connsiteY2" fmla="*/ 129540 h 457200"/>
                    <a:gd name="connsiteX3" fmla="*/ 91440 w 304800"/>
                    <a:gd name="connsiteY3" fmla="*/ 137160 h 457200"/>
                    <a:gd name="connsiteX4" fmla="*/ 0 w 304800"/>
                    <a:gd name="connsiteY4" fmla="*/ 213360 h 457200"/>
                    <a:gd name="connsiteX5" fmla="*/ 190500 w 304800"/>
                    <a:gd name="connsiteY5" fmla="*/ 457200 h 457200"/>
                    <a:gd name="connsiteX6" fmla="*/ 274320 w 304800"/>
                    <a:gd name="connsiteY6" fmla="*/ 251460 h 457200"/>
                    <a:gd name="connsiteX7" fmla="*/ 304800 w 304800"/>
                    <a:gd name="connsiteY7" fmla="*/ 137160 h 457200"/>
                    <a:gd name="connsiteX8" fmla="*/ 289560 w 304800"/>
                    <a:gd name="connsiteY8" fmla="*/ 0 h 457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04800" h="457200">
                      <a:moveTo>
                        <a:pt x="289560" y="0"/>
                      </a:moveTo>
                      <a:lnTo>
                        <a:pt x="236220" y="53340"/>
                      </a:lnTo>
                      <a:lnTo>
                        <a:pt x="152400" y="129540"/>
                      </a:lnTo>
                      <a:lnTo>
                        <a:pt x="91440" y="137160"/>
                      </a:lnTo>
                      <a:lnTo>
                        <a:pt x="0" y="213360"/>
                      </a:lnTo>
                      <a:lnTo>
                        <a:pt x="190500" y="457200"/>
                      </a:lnTo>
                      <a:lnTo>
                        <a:pt x="274320" y="251460"/>
                      </a:lnTo>
                      <a:lnTo>
                        <a:pt x="304800" y="137160"/>
                      </a:lnTo>
                      <a:lnTo>
                        <a:pt x="28956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3" name="Freeform 72"/>
                <p:cNvSpPr/>
                <p:nvPr/>
              </p:nvSpPr>
              <p:spPr>
                <a:xfrm>
                  <a:off x="12236877" y="1167819"/>
                  <a:ext cx="541933" cy="1875055"/>
                </a:xfrm>
                <a:custGeom>
                  <a:avLst/>
                  <a:gdLst>
                    <a:gd name="connsiteX0" fmla="*/ 746760 w 746760"/>
                    <a:gd name="connsiteY0" fmla="*/ 1653540 h 1988820"/>
                    <a:gd name="connsiteX1" fmla="*/ 601980 w 746760"/>
                    <a:gd name="connsiteY1" fmla="*/ 1744980 h 1988820"/>
                    <a:gd name="connsiteX2" fmla="*/ 449580 w 746760"/>
                    <a:gd name="connsiteY2" fmla="*/ 1767840 h 1988820"/>
                    <a:gd name="connsiteX3" fmla="*/ 373380 w 746760"/>
                    <a:gd name="connsiteY3" fmla="*/ 1790700 h 1988820"/>
                    <a:gd name="connsiteX4" fmla="*/ 304800 w 746760"/>
                    <a:gd name="connsiteY4" fmla="*/ 1859280 h 1988820"/>
                    <a:gd name="connsiteX5" fmla="*/ 190500 w 746760"/>
                    <a:gd name="connsiteY5" fmla="*/ 1920240 h 1988820"/>
                    <a:gd name="connsiteX6" fmla="*/ 144780 w 746760"/>
                    <a:gd name="connsiteY6" fmla="*/ 1943100 h 1988820"/>
                    <a:gd name="connsiteX7" fmla="*/ 144780 w 746760"/>
                    <a:gd name="connsiteY7" fmla="*/ 1988820 h 1988820"/>
                    <a:gd name="connsiteX8" fmla="*/ 0 w 746760"/>
                    <a:gd name="connsiteY8" fmla="*/ 1965960 h 1988820"/>
                    <a:gd name="connsiteX9" fmla="*/ 144780 w 746760"/>
                    <a:gd name="connsiteY9" fmla="*/ 1874520 h 1988820"/>
                    <a:gd name="connsiteX10" fmla="*/ 160020 w 746760"/>
                    <a:gd name="connsiteY10" fmla="*/ 510540 h 1988820"/>
                    <a:gd name="connsiteX11" fmla="*/ 129540 w 746760"/>
                    <a:gd name="connsiteY11" fmla="*/ 281940 h 1988820"/>
                    <a:gd name="connsiteX12" fmla="*/ 68580 w 746760"/>
                    <a:gd name="connsiteY12" fmla="*/ 106680 h 1988820"/>
                    <a:gd name="connsiteX13" fmla="*/ 121920 w 746760"/>
                    <a:gd name="connsiteY13" fmla="*/ 45720 h 1988820"/>
                    <a:gd name="connsiteX14" fmla="*/ 243840 w 746760"/>
                    <a:gd name="connsiteY14" fmla="*/ 190500 h 1988820"/>
                    <a:gd name="connsiteX15" fmla="*/ 327660 w 746760"/>
                    <a:gd name="connsiteY15" fmla="*/ 0 h 1988820"/>
                    <a:gd name="connsiteX16" fmla="*/ 297180 w 746760"/>
                    <a:gd name="connsiteY16" fmla="*/ 762000 h 1988820"/>
                    <a:gd name="connsiteX17" fmla="*/ 350520 w 746760"/>
                    <a:gd name="connsiteY17" fmla="*/ 1089660 h 1988820"/>
                    <a:gd name="connsiteX18" fmla="*/ 457200 w 746760"/>
                    <a:gd name="connsiteY18" fmla="*/ 1295400 h 1988820"/>
                    <a:gd name="connsiteX19" fmla="*/ 647700 w 746760"/>
                    <a:gd name="connsiteY19" fmla="*/ 1470660 h 1988820"/>
                    <a:gd name="connsiteX20" fmla="*/ 662940 w 746760"/>
                    <a:gd name="connsiteY20" fmla="*/ 1562100 h 1988820"/>
                    <a:gd name="connsiteX21" fmla="*/ 746760 w 746760"/>
                    <a:gd name="connsiteY21" fmla="*/ 1653540 h 1988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46760" h="1988820">
                      <a:moveTo>
                        <a:pt x="746760" y="1653540"/>
                      </a:moveTo>
                      <a:lnTo>
                        <a:pt x="601980" y="1744980"/>
                      </a:lnTo>
                      <a:lnTo>
                        <a:pt x="449580" y="1767840"/>
                      </a:lnTo>
                      <a:lnTo>
                        <a:pt x="373380" y="1790700"/>
                      </a:lnTo>
                      <a:lnTo>
                        <a:pt x="304800" y="1859280"/>
                      </a:lnTo>
                      <a:lnTo>
                        <a:pt x="190500" y="1920240"/>
                      </a:lnTo>
                      <a:lnTo>
                        <a:pt x="144780" y="1943100"/>
                      </a:lnTo>
                      <a:lnTo>
                        <a:pt x="144780" y="1988820"/>
                      </a:lnTo>
                      <a:lnTo>
                        <a:pt x="0" y="1965960"/>
                      </a:lnTo>
                      <a:lnTo>
                        <a:pt x="144780" y="1874520"/>
                      </a:lnTo>
                      <a:lnTo>
                        <a:pt x="160020" y="510540"/>
                      </a:lnTo>
                      <a:lnTo>
                        <a:pt x="129540" y="281940"/>
                      </a:lnTo>
                      <a:lnTo>
                        <a:pt x="68580" y="106680"/>
                      </a:lnTo>
                      <a:lnTo>
                        <a:pt x="121920" y="45720"/>
                      </a:lnTo>
                      <a:lnTo>
                        <a:pt x="243840" y="190500"/>
                      </a:lnTo>
                      <a:lnTo>
                        <a:pt x="327660" y="0"/>
                      </a:lnTo>
                      <a:lnTo>
                        <a:pt x="297180" y="762000"/>
                      </a:lnTo>
                      <a:lnTo>
                        <a:pt x="350520" y="1089660"/>
                      </a:lnTo>
                      <a:lnTo>
                        <a:pt x="457200" y="1295400"/>
                      </a:lnTo>
                      <a:lnTo>
                        <a:pt x="647700" y="1470660"/>
                      </a:lnTo>
                      <a:lnTo>
                        <a:pt x="662940" y="1562100"/>
                      </a:lnTo>
                      <a:lnTo>
                        <a:pt x="746760" y="165354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4" name="Freeform 73"/>
                <p:cNvSpPr/>
                <p:nvPr/>
              </p:nvSpPr>
              <p:spPr>
                <a:xfrm>
                  <a:off x="11838722" y="1031321"/>
                  <a:ext cx="364976" cy="2040290"/>
                </a:xfrm>
                <a:custGeom>
                  <a:avLst/>
                  <a:gdLst>
                    <a:gd name="connsiteX0" fmla="*/ 449580 w 502920"/>
                    <a:gd name="connsiteY0" fmla="*/ 220980 h 2164080"/>
                    <a:gd name="connsiteX1" fmla="*/ 502920 w 502920"/>
                    <a:gd name="connsiteY1" fmla="*/ 266700 h 2164080"/>
                    <a:gd name="connsiteX2" fmla="*/ 388620 w 502920"/>
                    <a:gd name="connsiteY2" fmla="*/ 556260 h 2164080"/>
                    <a:gd name="connsiteX3" fmla="*/ 320040 w 502920"/>
                    <a:gd name="connsiteY3" fmla="*/ 960120 h 2164080"/>
                    <a:gd name="connsiteX4" fmla="*/ 259080 w 502920"/>
                    <a:gd name="connsiteY4" fmla="*/ 2042160 h 2164080"/>
                    <a:gd name="connsiteX5" fmla="*/ 373380 w 502920"/>
                    <a:gd name="connsiteY5" fmla="*/ 2164080 h 2164080"/>
                    <a:gd name="connsiteX6" fmla="*/ 190500 w 502920"/>
                    <a:gd name="connsiteY6" fmla="*/ 2164080 h 2164080"/>
                    <a:gd name="connsiteX7" fmla="*/ 30480 w 502920"/>
                    <a:gd name="connsiteY7" fmla="*/ 2019300 h 2164080"/>
                    <a:gd name="connsiteX8" fmla="*/ 30480 w 502920"/>
                    <a:gd name="connsiteY8" fmla="*/ 1851660 h 2164080"/>
                    <a:gd name="connsiteX9" fmla="*/ 0 w 502920"/>
                    <a:gd name="connsiteY9" fmla="*/ 1463040 h 2164080"/>
                    <a:gd name="connsiteX10" fmla="*/ 83820 w 502920"/>
                    <a:gd name="connsiteY10" fmla="*/ 1074420 h 2164080"/>
                    <a:gd name="connsiteX11" fmla="*/ 76200 w 502920"/>
                    <a:gd name="connsiteY11" fmla="*/ 830580 h 2164080"/>
                    <a:gd name="connsiteX12" fmla="*/ 152400 w 502920"/>
                    <a:gd name="connsiteY12" fmla="*/ 510540 h 2164080"/>
                    <a:gd name="connsiteX13" fmla="*/ 243840 w 502920"/>
                    <a:gd name="connsiteY13" fmla="*/ 190500 h 2164080"/>
                    <a:gd name="connsiteX14" fmla="*/ 312420 w 502920"/>
                    <a:gd name="connsiteY14" fmla="*/ 0 h 2164080"/>
                    <a:gd name="connsiteX15" fmla="*/ 365760 w 502920"/>
                    <a:gd name="connsiteY15" fmla="*/ 358140 h 2164080"/>
                    <a:gd name="connsiteX16" fmla="*/ 381000 w 502920"/>
                    <a:gd name="connsiteY16" fmla="*/ 411480 h 2164080"/>
                    <a:gd name="connsiteX17" fmla="*/ 449580 w 502920"/>
                    <a:gd name="connsiteY17" fmla="*/ 220980 h 2164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502920" h="2164080">
                      <a:moveTo>
                        <a:pt x="449580" y="220980"/>
                      </a:moveTo>
                      <a:lnTo>
                        <a:pt x="502920" y="266700"/>
                      </a:lnTo>
                      <a:lnTo>
                        <a:pt x="388620" y="556260"/>
                      </a:lnTo>
                      <a:lnTo>
                        <a:pt x="320040" y="960120"/>
                      </a:lnTo>
                      <a:lnTo>
                        <a:pt x="259080" y="2042160"/>
                      </a:lnTo>
                      <a:lnTo>
                        <a:pt x="373380" y="2164080"/>
                      </a:lnTo>
                      <a:lnTo>
                        <a:pt x="190500" y="2164080"/>
                      </a:lnTo>
                      <a:lnTo>
                        <a:pt x="30480" y="2019300"/>
                      </a:lnTo>
                      <a:lnTo>
                        <a:pt x="30480" y="1851660"/>
                      </a:lnTo>
                      <a:lnTo>
                        <a:pt x="0" y="1463040"/>
                      </a:lnTo>
                      <a:lnTo>
                        <a:pt x="83820" y="1074420"/>
                      </a:lnTo>
                      <a:lnTo>
                        <a:pt x="76200" y="830580"/>
                      </a:lnTo>
                      <a:lnTo>
                        <a:pt x="152400" y="510540"/>
                      </a:lnTo>
                      <a:lnTo>
                        <a:pt x="243840" y="190500"/>
                      </a:lnTo>
                      <a:lnTo>
                        <a:pt x="312420" y="0"/>
                      </a:lnTo>
                      <a:lnTo>
                        <a:pt x="365760" y="358140"/>
                      </a:lnTo>
                      <a:lnTo>
                        <a:pt x="381000" y="411480"/>
                      </a:lnTo>
                      <a:lnTo>
                        <a:pt x="449580" y="22098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75" name="Group 74"/>
            <p:cNvGrpSpPr>
              <a:grpSpLocks noChangeAspect="1"/>
            </p:cNvGrpSpPr>
            <p:nvPr/>
          </p:nvGrpSpPr>
          <p:grpSpPr>
            <a:xfrm>
              <a:off x="3855442" y="4911990"/>
              <a:ext cx="521662" cy="755831"/>
              <a:chOff x="4171950" y="821395"/>
              <a:chExt cx="2857500" cy="4140199"/>
            </a:xfrm>
          </p:grpSpPr>
          <p:sp>
            <p:nvSpPr>
              <p:cNvPr id="76" name="Freeform 75"/>
              <p:cNvSpPr/>
              <p:nvPr/>
            </p:nvSpPr>
            <p:spPr>
              <a:xfrm>
                <a:off x="4171950" y="821395"/>
                <a:ext cx="2857500" cy="4140199"/>
              </a:xfrm>
              <a:custGeom>
                <a:avLst/>
                <a:gdLst>
                  <a:gd name="connsiteX0" fmla="*/ 2628900 w 2857500"/>
                  <a:gd name="connsiteY0" fmla="*/ 4089400 h 4140200"/>
                  <a:gd name="connsiteX1" fmla="*/ 2590800 w 2857500"/>
                  <a:gd name="connsiteY1" fmla="*/ 4038600 h 4140200"/>
                  <a:gd name="connsiteX2" fmla="*/ 2501900 w 2857500"/>
                  <a:gd name="connsiteY2" fmla="*/ 3771900 h 4140200"/>
                  <a:gd name="connsiteX3" fmla="*/ 2616200 w 2857500"/>
                  <a:gd name="connsiteY3" fmla="*/ 3263900 h 4140200"/>
                  <a:gd name="connsiteX4" fmla="*/ 2857500 w 2857500"/>
                  <a:gd name="connsiteY4" fmla="*/ 2755900 h 4140200"/>
                  <a:gd name="connsiteX5" fmla="*/ 2857500 w 2857500"/>
                  <a:gd name="connsiteY5" fmla="*/ 2552700 h 4140200"/>
                  <a:gd name="connsiteX6" fmla="*/ 2857500 w 2857500"/>
                  <a:gd name="connsiteY6" fmla="*/ 2159000 h 4140200"/>
                  <a:gd name="connsiteX7" fmla="*/ 2768600 w 2857500"/>
                  <a:gd name="connsiteY7" fmla="*/ 1841500 h 4140200"/>
                  <a:gd name="connsiteX8" fmla="*/ 2667000 w 2857500"/>
                  <a:gd name="connsiteY8" fmla="*/ 1765300 h 4140200"/>
                  <a:gd name="connsiteX9" fmla="*/ 2501900 w 2857500"/>
                  <a:gd name="connsiteY9" fmla="*/ 1663700 h 4140200"/>
                  <a:gd name="connsiteX10" fmla="*/ 2209800 w 2857500"/>
                  <a:gd name="connsiteY10" fmla="*/ 1511300 h 4140200"/>
                  <a:gd name="connsiteX11" fmla="*/ 2057400 w 2857500"/>
                  <a:gd name="connsiteY11" fmla="*/ 1257300 h 4140200"/>
                  <a:gd name="connsiteX12" fmla="*/ 2070100 w 2857500"/>
                  <a:gd name="connsiteY12" fmla="*/ 1041400 h 4140200"/>
                  <a:gd name="connsiteX13" fmla="*/ 2146300 w 2857500"/>
                  <a:gd name="connsiteY13" fmla="*/ 1054100 h 4140200"/>
                  <a:gd name="connsiteX14" fmla="*/ 2197100 w 2857500"/>
                  <a:gd name="connsiteY14" fmla="*/ 1041400 h 4140200"/>
                  <a:gd name="connsiteX15" fmla="*/ 2197100 w 2857500"/>
                  <a:gd name="connsiteY15" fmla="*/ 736600 h 4140200"/>
                  <a:gd name="connsiteX16" fmla="*/ 2159000 w 2857500"/>
                  <a:gd name="connsiteY16" fmla="*/ 723900 h 4140200"/>
                  <a:gd name="connsiteX17" fmla="*/ 2171700 w 2857500"/>
                  <a:gd name="connsiteY17" fmla="*/ 431800 h 4140200"/>
                  <a:gd name="connsiteX18" fmla="*/ 2082800 w 2857500"/>
                  <a:gd name="connsiteY18" fmla="*/ 215900 h 4140200"/>
                  <a:gd name="connsiteX19" fmla="*/ 1968500 w 2857500"/>
                  <a:gd name="connsiteY19" fmla="*/ 88900 h 4140200"/>
                  <a:gd name="connsiteX20" fmla="*/ 1638300 w 2857500"/>
                  <a:gd name="connsiteY20" fmla="*/ 0 h 4140200"/>
                  <a:gd name="connsiteX21" fmla="*/ 1358900 w 2857500"/>
                  <a:gd name="connsiteY21" fmla="*/ 127000 h 4140200"/>
                  <a:gd name="connsiteX22" fmla="*/ 1282700 w 2857500"/>
                  <a:gd name="connsiteY22" fmla="*/ 266700 h 4140200"/>
                  <a:gd name="connsiteX23" fmla="*/ 1219200 w 2857500"/>
                  <a:gd name="connsiteY23" fmla="*/ 457200 h 4140200"/>
                  <a:gd name="connsiteX24" fmla="*/ 1244600 w 2857500"/>
                  <a:gd name="connsiteY24" fmla="*/ 685800 h 4140200"/>
                  <a:gd name="connsiteX25" fmla="*/ 1244600 w 2857500"/>
                  <a:gd name="connsiteY25" fmla="*/ 838200 h 4140200"/>
                  <a:gd name="connsiteX26" fmla="*/ 1270000 w 2857500"/>
                  <a:gd name="connsiteY26" fmla="*/ 1117600 h 4140200"/>
                  <a:gd name="connsiteX27" fmla="*/ 1270000 w 2857500"/>
                  <a:gd name="connsiteY27" fmla="*/ 1117600 h 4140200"/>
                  <a:gd name="connsiteX28" fmla="*/ 1397000 w 2857500"/>
                  <a:gd name="connsiteY28" fmla="*/ 1270000 h 4140200"/>
                  <a:gd name="connsiteX29" fmla="*/ 1397000 w 2857500"/>
                  <a:gd name="connsiteY29" fmla="*/ 1485900 h 4140200"/>
                  <a:gd name="connsiteX30" fmla="*/ 1384300 w 2857500"/>
                  <a:gd name="connsiteY30" fmla="*/ 1524000 h 4140200"/>
                  <a:gd name="connsiteX31" fmla="*/ 762000 w 2857500"/>
                  <a:gd name="connsiteY31" fmla="*/ 1701800 h 4140200"/>
                  <a:gd name="connsiteX32" fmla="*/ 635000 w 2857500"/>
                  <a:gd name="connsiteY32" fmla="*/ 1778000 h 4140200"/>
                  <a:gd name="connsiteX33" fmla="*/ 622300 w 2857500"/>
                  <a:gd name="connsiteY33" fmla="*/ 1955800 h 4140200"/>
                  <a:gd name="connsiteX34" fmla="*/ 584200 w 2857500"/>
                  <a:gd name="connsiteY34" fmla="*/ 1968500 h 4140200"/>
                  <a:gd name="connsiteX35" fmla="*/ 584200 w 2857500"/>
                  <a:gd name="connsiteY35" fmla="*/ 2057400 h 4140200"/>
                  <a:gd name="connsiteX36" fmla="*/ 558800 w 2857500"/>
                  <a:gd name="connsiteY36" fmla="*/ 2120900 h 4140200"/>
                  <a:gd name="connsiteX37" fmla="*/ 431800 w 2857500"/>
                  <a:gd name="connsiteY37" fmla="*/ 2374900 h 4140200"/>
                  <a:gd name="connsiteX38" fmla="*/ 381000 w 2857500"/>
                  <a:gd name="connsiteY38" fmla="*/ 2527300 h 4140200"/>
                  <a:gd name="connsiteX39" fmla="*/ 190500 w 2857500"/>
                  <a:gd name="connsiteY39" fmla="*/ 2768600 h 4140200"/>
                  <a:gd name="connsiteX40" fmla="*/ 127000 w 2857500"/>
                  <a:gd name="connsiteY40" fmla="*/ 2832100 h 4140200"/>
                  <a:gd name="connsiteX41" fmla="*/ 76200 w 2857500"/>
                  <a:gd name="connsiteY41" fmla="*/ 2933700 h 4140200"/>
                  <a:gd name="connsiteX42" fmla="*/ 12700 w 2857500"/>
                  <a:gd name="connsiteY42" fmla="*/ 3022600 h 4140200"/>
                  <a:gd name="connsiteX43" fmla="*/ 0 w 2857500"/>
                  <a:gd name="connsiteY43" fmla="*/ 3289300 h 4140200"/>
                  <a:gd name="connsiteX44" fmla="*/ 25400 w 2857500"/>
                  <a:gd name="connsiteY44" fmla="*/ 3556000 h 4140200"/>
                  <a:gd name="connsiteX45" fmla="*/ 330200 w 2857500"/>
                  <a:gd name="connsiteY45" fmla="*/ 3644900 h 4140200"/>
                  <a:gd name="connsiteX46" fmla="*/ 571500 w 2857500"/>
                  <a:gd name="connsiteY46" fmla="*/ 3670300 h 4140200"/>
                  <a:gd name="connsiteX47" fmla="*/ 584200 w 2857500"/>
                  <a:gd name="connsiteY47" fmla="*/ 3759200 h 4140200"/>
                  <a:gd name="connsiteX48" fmla="*/ 520700 w 2857500"/>
                  <a:gd name="connsiteY48" fmla="*/ 4140200 h 4140200"/>
                  <a:gd name="connsiteX49" fmla="*/ 2628900 w 2857500"/>
                  <a:gd name="connsiteY49" fmla="*/ 4089400 h 4140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2857500" h="4140200">
                    <a:moveTo>
                      <a:pt x="2628900" y="4089400"/>
                    </a:moveTo>
                    <a:lnTo>
                      <a:pt x="2590800" y="4038600"/>
                    </a:lnTo>
                    <a:lnTo>
                      <a:pt x="2501900" y="3771900"/>
                    </a:lnTo>
                    <a:lnTo>
                      <a:pt x="2616200" y="3263900"/>
                    </a:lnTo>
                    <a:lnTo>
                      <a:pt x="2857500" y="2755900"/>
                    </a:lnTo>
                    <a:lnTo>
                      <a:pt x="2857500" y="2552700"/>
                    </a:lnTo>
                    <a:lnTo>
                      <a:pt x="2857500" y="2159000"/>
                    </a:lnTo>
                    <a:lnTo>
                      <a:pt x="2768600" y="1841500"/>
                    </a:lnTo>
                    <a:lnTo>
                      <a:pt x="2667000" y="1765300"/>
                    </a:lnTo>
                    <a:lnTo>
                      <a:pt x="2501900" y="1663700"/>
                    </a:lnTo>
                    <a:lnTo>
                      <a:pt x="2209800" y="1511300"/>
                    </a:lnTo>
                    <a:lnTo>
                      <a:pt x="2057400" y="1257300"/>
                    </a:lnTo>
                    <a:lnTo>
                      <a:pt x="2070100" y="1041400"/>
                    </a:lnTo>
                    <a:lnTo>
                      <a:pt x="2146300" y="1054100"/>
                    </a:lnTo>
                    <a:lnTo>
                      <a:pt x="2197100" y="1041400"/>
                    </a:lnTo>
                    <a:lnTo>
                      <a:pt x="2197100" y="736600"/>
                    </a:lnTo>
                    <a:lnTo>
                      <a:pt x="2159000" y="723900"/>
                    </a:lnTo>
                    <a:lnTo>
                      <a:pt x="2171700" y="431800"/>
                    </a:lnTo>
                    <a:lnTo>
                      <a:pt x="2082800" y="215900"/>
                    </a:lnTo>
                    <a:lnTo>
                      <a:pt x="1968500" y="88900"/>
                    </a:lnTo>
                    <a:lnTo>
                      <a:pt x="1638300" y="0"/>
                    </a:lnTo>
                    <a:lnTo>
                      <a:pt x="1358900" y="127000"/>
                    </a:lnTo>
                    <a:lnTo>
                      <a:pt x="1282700" y="266700"/>
                    </a:lnTo>
                    <a:lnTo>
                      <a:pt x="1219200" y="457200"/>
                    </a:lnTo>
                    <a:lnTo>
                      <a:pt x="1244600" y="685800"/>
                    </a:lnTo>
                    <a:lnTo>
                      <a:pt x="1244600" y="838200"/>
                    </a:lnTo>
                    <a:lnTo>
                      <a:pt x="1270000" y="1117600"/>
                    </a:lnTo>
                    <a:lnTo>
                      <a:pt x="1270000" y="1117600"/>
                    </a:lnTo>
                    <a:lnTo>
                      <a:pt x="1397000" y="1270000"/>
                    </a:lnTo>
                    <a:lnTo>
                      <a:pt x="1397000" y="1485900"/>
                    </a:lnTo>
                    <a:lnTo>
                      <a:pt x="1384300" y="1524000"/>
                    </a:lnTo>
                    <a:lnTo>
                      <a:pt x="762000" y="1701800"/>
                    </a:lnTo>
                    <a:lnTo>
                      <a:pt x="635000" y="1778000"/>
                    </a:lnTo>
                    <a:lnTo>
                      <a:pt x="622300" y="1955800"/>
                    </a:lnTo>
                    <a:lnTo>
                      <a:pt x="584200" y="1968500"/>
                    </a:lnTo>
                    <a:lnTo>
                      <a:pt x="584200" y="2057400"/>
                    </a:lnTo>
                    <a:lnTo>
                      <a:pt x="558800" y="2120900"/>
                    </a:lnTo>
                    <a:lnTo>
                      <a:pt x="431800" y="2374900"/>
                    </a:lnTo>
                    <a:lnTo>
                      <a:pt x="381000" y="2527300"/>
                    </a:lnTo>
                    <a:lnTo>
                      <a:pt x="190500" y="2768600"/>
                    </a:lnTo>
                    <a:lnTo>
                      <a:pt x="127000" y="2832100"/>
                    </a:lnTo>
                    <a:lnTo>
                      <a:pt x="76200" y="2933700"/>
                    </a:lnTo>
                    <a:lnTo>
                      <a:pt x="12700" y="3022600"/>
                    </a:lnTo>
                    <a:lnTo>
                      <a:pt x="0" y="3289300"/>
                    </a:lnTo>
                    <a:lnTo>
                      <a:pt x="25400" y="3556000"/>
                    </a:lnTo>
                    <a:lnTo>
                      <a:pt x="330200" y="3644900"/>
                    </a:lnTo>
                    <a:lnTo>
                      <a:pt x="571500" y="3670300"/>
                    </a:lnTo>
                    <a:lnTo>
                      <a:pt x="584200" y="3759200"/>
                    </a:lnTo>
                    <a:lnTo>
                      <a:pt x="520700" y="4140200"/>
                    </a:lnTo>
                    <a:lnTo>
                      <a:pt x="2628900" y="408940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77" name="Group 76"/>
              <p:cNvGrpSpPr/>
              <p:nvPr/>
            </p:nvGrpSpPr>
            <p:grpSpPr>
              <a:xfrm>
                <a:off x="5232154" y="2105346"/>
                <a:ext cx="1168401" cy="1739900"/>
                <a:chOff x="5232155" y="2105346"/>
                <a:chExt cx="1168400" cy="1739900"/>
              </a:xfrm>
            </p:grpSpPr>
            <p:sp>
              <p:nvSpPr>
                <p:cNvPr id="78" name="Freeform 77"/>
                <p:cNvSpPr/>
                <p:nvPr/>
              </p:nvSpPr>
              <p:spPr>
                <a:xfrm>
                  <a:off x="5232155" y="2105346"/>
                  <a:ext cx="1168400" cy="1739900"/>
                </a:xfrm>
                <a:custGeom>
                  <a:avLst/>
                  <a:gdLst>
                    <a:gd name="connsiteX0" fmla="*/ 330200 w 1168400"/>
                    <a:gd name="connsiteY0" fmla="*/ 203200 h 1739900"/>
                    <a:gd name="connsiteX1" fmla="*/ 101600 w 1168400"/>
                    <a:gd name="connsiteY1" fmla="*/ 457200 h 1739900"/>
                    <a:gd name="connsiteX2" fmla="*/ 152400 w 1168400"/>
                    <a:gd name="connsiteY2" fmla="*/ 508000 h 1739900"/>
                    <a:gd name="connsiteX3" fmla="*/ 0 w 1168400"/>
                    <a:gd name="connsiteY3" fmla="*/ 571500 h 1739900"/>
                    <a:gd name="connsiteX4" fmla="*/ 0 w 1168400"/>
                    <a:gd name="connsiteY4" fmla="*/ 1016000 h 1739900"/>
                    <a:gd name="connsiteX5" fmla="*/ 101600 w 1168400"/>
                    <a:gd name="connsiteY5" fmla="*/ 1409700 h 1739900"/>
                    <a:gd name="connsiteX6" fmla="*/ 152400 w 1168400"/>
                    <a:gd name="connsiteY6" fmla="*/ 1612900 h 1739900"/>
                    <a:gd name="connsiteX7" fmla="*/ 152400 w 1168400"/>
                    <a:gd name="connsiteY7" fmla="*/ 1739900 h 1739900"/>
                    <a:gd name="connsiteX8" fmla="*/ 279400 w 1168400"/>
                    <a:gd name="connsiteY8" fmla="*/ 1701800 h 1739900"/>
                    <a:gd name="connsiteX9" fmla="*/ 419100 w 1168400"/>
                    <a:gd name="connsiteY9" fmla="*/ 1333500 h 1739900"/>
                    <a:gd name="connsiteX10" fmla="*/ 596900 w 1168400"/>
                    <a:gd name="connsiteY10" fmla="*/ 1054100 h 1739900"/>
                    <a:gd name="connsiteX11" fmla="*/ 889000 w 1168400"/>
                    <a:gd name="connsiteY11" fmla="*/ 685800 h 1739900"/>
                    <a:gd name="connsiteX12" fmla="*/ 876300 w 1168400"/>
                    <a:gd name="connsiteY12" fmla="*/ 596900 h 1739900"/>
                    <a:gd name="connsiteX13" fmla="*/ 1003300 w 1168400"/>
                    <a:gd name="connsiteY13" fmla="*/ 558800 h 1739900"/>
                    <a:gd name="connsiteX14" fmla="*/ 1168400 w 1168400"/>
                    <a:gd name="connsiteY14" fmla="*/ 254000 h 1739900"/>
                    <a:gd name="connsiteX15" fmla="*/ 1016000 w 1168400"/>
                    <a:gd name="connsiteY15" fmla="*/ 0 h 1739900"/>
                    <a:gd name="connsiteX16" fmla="*/ 533400 w 1168400"/>
                    <a:gd name="connsiteY16" fmla="*/ 685800 h 1739900"/>
                    <a:gd name="connsiteX17" fmla="*/ 292100 w 1168400"/>
                    <a:gd name="connsiteY17" fmla="*/ 1181100 h 1739900"/>
                    <a:gd name="connsiteX18" fmla="*/ 304800 w 1168400"/>
                    <a:gd name="connsiteY18" fmla="*/ 825500 h 1739900"/>
                    <a:gd name="connsiteX19" fmla="*/ 330200 w 1168400"/>
                    <a:gd name="connsiteY19" fmla="*/ 203200 h 1739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168400" h="1739900">
                      <a:moveTo>
                        <a:pt x="330200" y="203200"/>
                      </a:moveTo>
                      <a:lnTo>
                        <a:pt x="101600" y="457200"/>
                      </a:lnTo>
                      <a:lnTo>
                        <a:pt x="152400" y="508000"/>
                      </a:lnTo>
                      <a:lnTo>
                        <a:pt x="0" y="571500"/>
                      </a:lnTo>
                      <a:lnTo>
                        <a:pt x="0" y="1016000"/>
                      </a:lnTo>
                      <a:lnTo>
                        <a:pt x="101600" y="1409700"/>
                      </a:lnTo>
                      <a:lnTo>
                        <a:pt x="152400" y="1612900"/>
                      </a:lnTo>
                      <a:lnTo>
                        <a:pt x="152400" y="1739900"/>
                      </a:lnTo>
                      <a:lnTo>
                        <a:pt x="279400" y="1701800"/>
                      </a:lnTo>
                      <a:lnTo>
                        <a:pt x="419100" y="1333500"/>
                      </a:lnTo>
                      <a:lnTo>
                        <a:pt x="596900" y="1054100"/>
                      </a:lnTo>
                      <a:lnTo>
                        <a:pt x="889000" y="685800"/>
                      </a:lnTo>
                      <a:lnTo>
                        <a:pt x="876300" y="596900"/>
                      </a:lnTo>
                      <a:lnTo>
                        <a:pt x="1003300" y="558800"/>
                      </a:lnTo>
                      <a:lnTo>
                        <a:pt x="1168400" y="254000"/>
                      </a:lnTo>
                      <a:lnTo>
                        <a:pt x="1016000" y="0"/>
                      </a:lnTo>
                      <a:lnTo>
                        <a:pt x="533400" y="685800"/>
                      </a:lnTo>
                      <a:lnTo>
                        <a:pt x="292100" y="1181100"/>
                      </a:lnTo>
                      <a:lnTo>
                        <a:pt x="304800" y="825500"/>
                      </a:lnTo>
                      <a:lnTo>
                        <a:pt x="330200" y="20320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9" name="Freeform 78"/>
                <p:cNvSpPr/>
                <p:nvPr/>
              </p:nvSpPr>
              <p:spPr>
                <a:xfrm>
                  <a:off x="5589855" y="2184273"/>
                  <a:ext cx="609601" cy="977900"/>
                </a:xfrm>
                <a:custGeom>
                  <a:avLst/>
                  <a:gdLst>
                    <a:gd name="connsiteX0" fmla="*/ 0 w 609600"/>
                    <a:gd name="connsiteY0" fmla="*/ 63500 h 977900"/>
                    <a:gd name="connsiteX1" fmla="*/ 152400 w 609600"/>
                    <a:gd name="connsiteY1" fmla="*/ 304800 h 977900"/>
                    <a:gd name="connsiteX2" fmla="*/ 609600 w 609600"/>
                    <a:gd name="connsiteY2" fmla="*/ 0 h 977900"/>
                    <a:gd name="connsiteX3" fmla="*/ 330200 w 609600"/>
                    <a:gd name="connsiteY3" fmla="*/ 393700 h 977900"/>
                    <a:gd name="connsiteX4" fmla="*/ 177800 w 609600"/>
                    <a:gd name="connsiteY4" fmla="*/ 558800 h 977900"/>
                    <a:gd name="connsiteX5" fmla="*/ 177800 w 609600"/>
                    <a:gd name="connsiteY5" fmla="*/ 660400 h 977900"/>
                    <a:gd name="connsiteX6" fmla="*/ 0 w 609600"/>
                    <a:gd name="connsiteY6" fmla="*/ 977900 h 977900"/>
                    <a:gd name="connsiteX7" fmla="*/ 0 w 609600"/>
                    <a:gd name="connsiteY7" fmla="*/ 647700 h 977900"/>
                    <a:gd name="connsiteX8" fmla="*/ 12700 w 609600"/>
                    <a:gd name="connsiteY8" fmla="*/ 419100 h 977900"/>
                    <a:gd name="connsiteX9" fmla="*/ 0 w 609600"/>
                    <a:gd name="connsiteY9" fmla="*/ 63500 h 977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09600" h="977900">
                      <a:moveTo>
                        <a:pt x="0" y="63500"/>
                      </a:moveTo>
                      <a:lnTo>
                        <a:pt x="152400" y="304800"/>
                      </a:lnTo>
                      <a:lnTo>
                        <a:pt x="609600" y="0"/>
                      </a:lnTo>
                      <a:lnTo>
                        <a:pt x="330200" y="393700"/>
                      </a:lnTo>
                      <a:lnTo>
                        <a:pt x="177800" y="558800"/>
                      </a:lnTo>
                      <a:lnTo>
                        <a:pt x="177800" y="660400"/>
                      </a:lnTo>
                      <a:lnTo>
                        <a:pt x="0" y="977900"/>
                      </a:lnTo>
                      <a:lnTo>
                        <a:pt x="0" y="647700"/>
                      </a:lnTo>
                      <a:lnTo>
                        <a:pt x="12700" y="419100"/>
                      </a:lnTo>
                      <a:lnTo>
                        <a:pt x="0" y="6350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937720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8fe77fbf4d8526ee49a5da8c8c968d8400c5f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07cGQ1a063at9_Oyi8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DFuXCByUimRav6B0GS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07cGQ1a063at9_Oyi8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DFuXCByUimRav6B0GS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07cGQ1a063at9_Oyi8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DFuXCByUimRav6B0GSE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07cGQ1a063at9_Oyi8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DFuXCByUimRav6B0GS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NqEP.0gkSpdt7qxz67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NqEP.0gkSpdt7qxz67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NqEP.0gkSpdt7qxz67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NqEP.0gkSpdt7qxz67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NqEP.0gkSpdt7qxz67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07cGQ1a063at9_Oyi8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DFuXCByUimRav6B0GSE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07cGQ1a063at9_Oyi8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DFuXCByUimRav6B0GSE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07cGQ1a063at9_Oyi8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DFuXCByUimRav6B0GSE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07cGQ1a063at9_Oyi8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NqEP.0gkSpdt7qxz67c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DFuXCByUimRav6B0GSE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07cGQ1a063at9_Oyi8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DFuXCByUimRav6B0GS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NqEP.0gkSpdt7qxz67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NqEP.0gkSpdt7qxz67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NqEP.0gkSpdt7qxz67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NqEP.0gkSpdt7qxz67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07cGQ1a063at9_Oyi8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DFuXCByUimRav6B0GSE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Relationship Id="rId2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The RACI Model">
  <a:themeElements>
    <a:clrScheme name="Products">
      <a:dk1>
        <a:srgbClr val="000000"/>
      </a:dk1>
      <a:lt1>
        <a:srgbClr val="FFFFFF"/>
      </a:lt1>
      <a:dk2>
        <a:srgbClr val="000000"/>
      </a:dk2>
      <a:lt2>
        <a:srgbClr val="0070C0"/>
      </a:lt2>
      <a:accent1>
        <a:srgbClr val="276B7D"/>
      </a:accent1>
      <a:accent2>
        <a:srgbClr val="FFC000"/>
      </a:accent2>
      <a:accent3>
        <a:srgbClr val="7F7F7F"/>
      </a:accent3>
      <a:accent4>
        <a:srgbClr val="BF0000"/>
      </a:accent4>
      <a:accent5>
        <a:srgbClr val="FF4925"/>
      </a:accent5>
      <a:accent6>
        <a:srgbClr val="92D050"/>
      </a:accent6>
      <a:hlink>
        <a:srgbClr val="276B7D"/>
      </a:hlink>
      <a:folHlink>
        <a:srgbClr val="276B7D"/>
      </a:folHlink>
    </a:clrScheme>
    <a:fontScheme name="New Non Map fo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>
    <a:spDef>
      <a:spPr>
        <a:solidFill>
          <a:schemeClr val="bg1">
            <a:lumMod val="6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</Template>
  <TotalTime>3907</TotalTime>
  <Words>709</Words>
  <Application>Microsoft Macintosh PowerPoint</Application>
  <PresentationFormat>Diavoorstelling (4:3)</PresentationFormat>
  <Paragraphs>311</Paragraphs>
  <Slides>10</Slides>
  <Notes>2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0</vt:i4>
      </vt:variant>
    </vt:vector>
  </HeadingPairs>
  <TitlesOfParts>
    <vt:vector size="18" baseType="lpstr">
      <vt:lpstr>Calibri</vt:lpstr>
      <vt:lpstr>Calibri Light</vt:lpstr>
      <vt:lpstr>Courier New</vt:lpstr>
      <vt:lpstr>Wingdings</vt:lpstr>
      <vt:lpstr>Wingdings 2</vt:lpstr>
      <vt:lpstr>Arial</vt:lpstr>
      <vt:lpstr>The RACI Model</vt:lpstr>
      <vt:lpstr>think-cell Slide</vt:lpstr>
      <vt:lpstr>RACI Matrix</vt:lpstr>
      <vt:lpstr>How to Use Our Editable PPT Products</vt:lpstr>
      <vt:lpstr>RACI Matrix</vt:lpstr>
      <vt:lpstr>RACI Matrix</vt:lpstr>
      <vt:lpstr>RACI Matrix</vt:lpstr>
      <vt:lpstr>RACI Matrix</vt:lpstr>
      <vt:lpstr>RACI Matrix</vt:lpstr>
      <vt:lpstr>The RACI Triangle</vt:lpstr>
      <vt:lpstr>The RACI Triangle</vt:lpstr>
      <vt:lpstr>RACI – Who’s Who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RACI Model</dc:title>
  <dc:subject>Visual Communication</dc:subject>
  <dc:creator>CB027</dc:creator>
  <cp:lastModifiedBy>kris bostoen</cp:lastModifiedBy>
  <cp:revision>544</cp:revision>
  <dcterms:created xsi:type="dcterms:W3CDTF">2011-08-08T10:00:53Z</dcterms:created>
  <dcterms:modified xsi:type="dcterms:W3CDTF">2015-08-26T07:47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300033821033</vt:lpwstr>
  </property>
</Properties>
</file>